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4.xml" ContentType="application/vnd.openxmlformats-officedocument.them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5.xml" ContentType="application/vnd.openxmlformats-officedocument.them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9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tags/tag406.xml" ContentType="application/vnd.openxmlformats-officedocument.presentationml.tags+xml"/>
  <Override PartName="/ppt/notesSlides/notesSlide1.xml" ContentType="application/vnd.openxmlformats-officedocument.presentationml.notesSlid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notesSlides/notesSlide2.xml" ContentType="application/vnd.openxmlformats-officedocument.presentationml.notesSlid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notesSlides/notesSlide3.xml" ContentType="application/vnd.openxmlformats-officedocument.presentationml.notesSlide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</p:sldMasterIdLst>
  <p:notesMasterIdLst>
    <p:notesMasterId r:id="rId31"/>
  </p:notesMasterIdLst>
  <p:handoutMasterIdLst>
    <p:handoutMasterId r:id="rId32"/>
  </p:handoutMasterIdLst>
  <p:sldIdLst>
    <p:sldId id="661" r:id="rId20"/>
    <p:sldId id="662" r:id="rId21"/>
    <p:sldId id="663" r:id="rId22"/>
    <p:sldId id="664" r:id="rId23"/>
    <p:sldId id="665" r:id="rId24"/>
    <p:sldId id="666" r:id="rId25"/>
    <p:sldId id="667" r:id="rId26"/>
    <p:sldId id="668" r:id="rId27"/>
    <p:sldId id="669" r:id="rId28"/>
    <p:sldId id="670" r:id="rId29"/>
    <p:sldId id="671" r:id="rId30"/>
  </p:sldIdLst>
  <p:sldSz cx="11949113" cy="6721475"/>
  <p:notesSz cx="9236075" cy="6954838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" userDrawn="1">
          <p15:clr>
            <a:srgbClr val="A4A3A4"/>
          </p15:clr>
        </p15:guide>
        <p15:guide id="2" pos="74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6699" autoAdjust="0"/>
  </p:normalViewPr>
  <p:slideViewPr>
    <p:cSldViewPr snapToGrid="0" snapToObjects="1">
      <p:cViewPr varScale="1">
        <p:scale>
          <a:sx n="127" d="100"/>
          <a:sy n="127" d="100"/>
        </p:scale>
        <p:origin x="648" y="176"/>
      </p:cViewPr>
      <p:guideLst>
        <p:guide orient="horz" pos="29"/>
        <p:guide pos="74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03238" y="495300"/>
            <a:ext cx="5999162" cy="3375025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3198" y="4962911"/>
            <a:ext cx="592667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4709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1070" y="4826449"/>
            <a:ext cx="6430449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0417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82550" y="600075"/>
            <a:ext cx="7251700" cy="4079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89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5.jpg"/><Relationship Id="rId2" Type="http://schemas.openxmlformats.org/officeDocument/2006/relationships/tags" Target="../tags/tag10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9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0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5.jpg"/><Relationship Id="rId2" Type="http://schemas.openxmlformats.org/officeDocument/2006/relationships/tags" Target="../tags/tag15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8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7:5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7:5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168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7:5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23/2018 7:5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6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11/23/2018 7:5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211.xml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206.xml"/><Relationship Id="rId20" Type="http://schemas.openxmlformats.org/officeDocument/2006/relationships/tags" Target="../tags/tag210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44.vml"/><Relationship Id="rId11" Type="http://schemas.openxmlformats.org/officeDocument/2006/relationships/tags" Target="../tags/tag201.xml"/><Relationship Id="rId24" Type="http://schemas.openxmlformats.org/officeDocument/2006/relationships/oleObject" Target="../embeddings/oleObject44.bin"/><Relationship Id="rId5" Type="http://schemas.openxmlformats.org/officeDocument/2006/relationships/theme" Target="../theme/theme10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232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49.vml"/><Relationship Id="rId11" Type="http://schemas.openxmlformats.org/officeDocument/2006/relationships/tags" Target="../tags/tag222.xml"/><Relationship Id="rId24" Type="http://schemas.openxmlformats.org/officeDocument/2006/relationships/oleObject" Target="../embeddings/oleObject49.bin"/><Relationship Id="rId5" Type="http://schemas.openxmlformats.org/officeDocument/2006/relationships/theme" Target="../theme/theme11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10" Type="http://schemas.openxmlformats.org/officeDocument/2006/relationships/tags" Target="../tags/tag221.xml"/><Relationship Id="rId19" Type="http://schemas.openxmlformats.org/officeDocument/2006/relationships/tags" Target="../tags/tag230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tags" Target="../tags/tag2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slideLayout" Target="../slideLayouts/slideLayout43.xml"/><Relationship Id="rId6" Type="http://schemas.openxmlformats.org/officeDocument/2006/relationships/vmlDrawing" Target="../drawings/vmlDrawing54.vml"/><Relationship Id="rId11" Type="http://schemas.openxmlformats.org/officeDocument/2006/relationships/tags" Target="../tags/tag243.xml"/><Relationship Id="rId24" Type="http://schemas.openxmlformats.org/officeDocument/2006/relationships/oleObject" Target="../embeddings/oleObject54.bin"/><Relationship Id="rId5" Type="http://schemas.openxmlformats.org/officeDocument/2006/relationships/theme" Target="../theme/theme12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slideLayout" Target="../slideLayouts/slideLayout4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274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1" Type="http://schemas.openxmlformats.org/officeDocument/2006/relationships/slideLayout" Target="../slideLayouts/slideLayout47.xml"/><Relationship Id="rId6" Type="http://schemas.openxmlformats.org/officeDocument/2006/relationships/vmlDrawing" Target="../drawings/vmlDrawing59.vml"/><Relationship Id="rId11" Type="http://schemas.openxmlformats.org/officeDocument/2006/relationships/tags" Target="../tags/tag264.xml"/><Relationship Id="rId24" Type="http://schemas.openxmlformats.org/officeDocument/2006/relationships/oleObject" Target="../embeddings/oleObject59.bin"/><Relationship Id="rId5" Type="http://schemas.openxmlformats.org/officeDocument/2006/relationships/theme" Target="../theme/theme13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95.xml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90.xml"/><Relationship Id="rId20" Type="http://schemas.openxmlformats.org/officeDocument/2006/relationships/tags" Target="../tags/tag294.xml"/><Relationship Id="rId1" Type="http://schemas.openxmlformats.org/officeDocument/2006/relationships/slideLayout" Target="../slideLayouts/slideLayout51.xml"/><Relationship Id="rId6" Type="http://schemas.openxmlformats.org/officeDocument/2006/relationships/vmlDrawing" Target="../drawings/vmlDrawing64.vml"/><Relationship Id="rId11" Type="http://schemas.openxmlformats.org/officeDocument/2006/relationships/tags" Target="../tags/tag285.xml"/><Relationship Id="rId24" Type="http://schemas.openxmlformats.org/officeDocument/2006/relationships/oleObject" Target="../embeddings/oleObject64.bin"/><Relationship Id="rId5" Type="http://schemas.openxmlformats.org/officeDocument/2006/relationships/theme" Target="../theme/theme14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tags" Target="../tags/tag308.xml"/><Relationship Id="rId18" Type="http://schemas.openxmlformats.org/officeDocument/2006/relationships/tags" Target="../tags/tag313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316.xml"/><Relationship Id="rId7" Type="http://schemas.openxmlformats.org/officeDocument/2006/relationships/tags" Target="../tags/tag302.xml"/><Relationship Id="rId12" Type="http://schemas.openxmlformats.org/officeDocument/2006/relationships/tags" Target="../tags/tag307.xml"/><Relationship Id="rId17" Type="http://schemas.openxmlformats.org/officeDocument/2006/relationships/tags" Target="../tags/tag3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tags" Target="../tags/tag311.xml"/><Relationship Id="rId20" Type="http://schemas.openxmlformats.org/officeDocument/2006/relationships/tags" Target="../tags/tag315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69.vml"/><Relationship Id="rId11" Type="http://schemas.openxmlformats.org/officeDocument/2006/relationships/tags" Target="../tags/tag306.xml"/><Relationship Id="rId24" Type="http://schemas.openxmlformats.org/officeDocument/2006/relationships/oleObject" Target="../embeddings/oleObject69.bin"/><Relationship Id="rId5" Type="http://schemas.openxmlformats.org/officeDocument/2006/relationships/theme" Target="../theme/theme15.xml"/><Relationship Id="rId15" Type="http://schemas.openxmlformats.org/officeDocument/2006/relationships/tags" Target="../tags/tag310.xml"/><Relationship Id="rId23" Type="http://schemas.openxmlformats.org/officeDocument/2006/relationships/tags" Target="../tags/tag318.xml"/><Relationship Id="rId10" Type="http://schemas.openxmlformats.org/officeDocument/2006/relationships/tags" Target="../tags/tag305.xml"/><Relationship Id="rId19" Type="http://schemas.openxmlformats.org/officeDocument/2006/relationships/tags" Target="../tags/tag314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304.xml"/><Relationship Id="rId14" Type="http://schemas.openxmlformats.org/officeDocument/2006/relationships/tags" Target="../tags/tag309.xml"/><Relationship Id="rId22" Type="http://schemas.openxmlformats.org/officeDocument/2006/relationships/tags" Target="../tags/tag31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337.xml"/><Relationship Id="rId7" Type="http://schemas.openxmlformats.org/officeDocument/2006/relationships/tags" Target="../tags/tag323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32.xml"/><Relationship Id="rId20" Type="http://schemas.openxmlformats.org/officeDocument/2006/relationships/tags" Target="../tags/tag336.xml"/><Relationship Id="rId1" Type="http://schemas.openxmlformats.org/officeDocument/2006/relationships/slideLayout" Target="../slideLayouts/slideLayout59.xml"/><Relationship Id="rId6" Type="http://schemas.openxmlformats.org/officeDocument/2006/relationships/vmlDrawing" Target="../drawings/vmlDrawing74.vml"/><Relationship Id="rId11" Type="http://schemas.openxmlformats.org/officeDocument/2006/relationships/tags" Target="../tags/tag327.xml"/><Relationship Id="rId24" Type="http://schemas.openxmlformats.org/officeDocument/2006/relationships/oleObject" Target="../embeddings/oleObject74.bin"/><Relationship Id="rId5" Type="http://schemas.openxmlformats.org/officeDocument/2006/relationships/theme" Target="../theme/theme16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10" Type="http://schemas.openxmlformats.org/officeDocument/2006/relationships/tags" Target="../tags/tag326.xml"/><Relationship Id="rId19" Type="http://schemas.openxmlformats.org/officeDocument/2006/relationships/tags" Target="../tags/tag335.xml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325.xml"/><Relationship Id="rId14" Type="http://schemas.openxmlformats.org/officeDocument/2006/relationships/tags" Target="../tags/tag330.xml"/><Relationship Id="rId22" Type="http://schemas.openxmlformats.org/officeDocument/2006/relationships/tags" Target="../tags/tag33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358.xml"/><Relationship Id="rId7" Type="http://schemas.openxmlformats.org/officeDocument/2006/relationships/tags" Target="../tags/tag344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353.xml"/><Relationship Id="rId20" Type="http://schemas.openxmlformats.org/officeDocument/2006/relationships/tags" Target="../tags/tag357.xml"/><Relationship Id="rId1" Type="http://schemas.openxmlformats.org/officeDocument/2006/relationships/slideLayout" Target="../slideLayouts/slideLayout63.xml"/><Relationship Id="rId6" Type="http://schemas.openxmlformats.org/officeDocument/2006/relationships/vmlDrawing" Target="../drawings/vmlDrawing79.vml"/><Relationship Id="rId11" Type="http://schemas.openxmlformats.org/officeDocument/2006/relationships/tags" Target="../tags/tag348.xml"/><Relationship Id="rId24" Type="http://schemas.openxmlformats.org/officeDocument/2006/relationships/oleObject" Target="../embeddings/oleObject79.bin"/><Relationship Id="rId5" Type="http://schemas.openxmlformats.org/officeDocument/2006/relationships/theme" Target="../theme/theme17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10" Type="http://schemas.openxmlformats.org/officeDocument/2006/relationships/tags" Target="../tags/tag347.xml"/><Relationship Id="rId19" Type="http://schemas.openxmlformats.org/officeDocument/2006/relationships/tags" Target="../tags/tag356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46.xml"/><Relationship Id="rId14" Type="http://schemas.openxmlformats.org/officeDocument/2006/relationships/tags" Target="../tags/tag351.xml"/><Relationship Id="rId22" Type="http://schemas.openxmlformats.org/officeDocument/2006/relationships/tags" Target="../tags/tag35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380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375.xml"/><Relationship Id="rId20" Type="http://schemas.openxmlformats.org/officeDocument/2006/relationships/tags" Target="../tags/tag379.xml"/><Relationship Id="rId1" Type="http://schemas.openxmlformats.org/officeDocument/2006/relationships/slideLayout" Target="../slideLayouts/slideLayout67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84.vml"/><Relationship Id="rId15" Type="http://schemas.openxmlformats.org/officeDocument/2006/relationships/tags" Target="../tags/tag374.xml"/><Relationship Id="rId23" Type="http://schemas.openxmlformats.org/officeDocument/2006/relationships/oleObject" Target="../embeddings/oleObject84.bin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4" Type="http://schemas.openxmlformats.org/officeDocument/2006/relationships/theme" Target="../theme/theme18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399.xml"/><Relationship Id="rId7" Type="http://schemas.openxmlformats.org/officeDocument/2006/relationships/tags" Target="../tags/tag385.x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70.xml"/><Relationship Id="rId6" Type="http://schemas.openxmlformats.org/officeDocument/2006/relationships/vmlDrawing" Target="../drawings/vmlDrawing88.vml"/><Relationship Id="rId11" Type="http://schemas.openxmlformats.org/officeDocument/2006/relationships/tags" Target="../tags/tag389.xml"/><Relationship Id="rId24" Type="http://schemas.openxmlformats.org/officeDocument/2006/relationships/oleObject" Target="../embeddings/oleObject88.bin"/><Relationship Id="rId5" Type="http://schemas.openxmlformats.org/officeDocument/2006/relationships/theme" Target="../theme/theme19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7.vml"/><Relationship Id="rId15" Type="http://schemas.openxmlformats.org/officeDocument/2006/relationships/tags" Target="../tags/tag33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heme" Target="../theme/theme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11.vml"/><Relationship Id="rId11" Type="http://schemas.openxmlformats.org/officeDocument/2006/relationships/tags" Target="../tags/tag50.xml"/><Relationship Id="rId24" Type="http://schemas.openxmlformats.org/officeDocument/2006/relationships/oleObject" Target="../embeddings/oleObject11.bin"/><Relationship Id="rId5" Type="http://schemas.openxmlformats.org/officeDocument/2006/relationships/theme" Target="../theme/theme3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83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6.vml"/><Relationship Id="rId11" Type="http://schemas.openxmlformats.org/officeDocument/2006/relationships/tags" Target="../tags/tag73.xml"/><Relationship Id="rId24" Type="http://schemas.openxmlformats.org/officeDocument/2006/relationships/oleObject" Target="../embeddings/oleObject16.bin"/><Relationship Id="rId5" Type="http://schemas.openxmlformats.org/officeDocument/2006/relationships/theme" Target="../theme/theme4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1.vml"/><Relationship Id="rId15" Type="http://schemas.openxmlformats.org/officeDocument/2006/relationships/tags" Target="../tags/tag99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4" Type="http://schemas.openxmlformats.org/officeDocument/2006/relationships/theme" Target="../theme/theme5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26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5.vml"/><Relationship Id="rId11" Type="http://schemas.openxmlformats.org/officeDocument/2006/relationships/tags" Target="../tags/tag116.xml"/><Relationship Id="rId24" Type="http://schemas.openxmlformats.org/officeDocument/2006/relationships/oleObject" Target="../embeddings/oleObject25.bin"/><Relationship Id="rId5" Type="http://schemas.openxmlformats.org/officeDocument/2006/relationships/theme" Target="../theme/theme6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10" Type="http://schemas.openxmlformats.org/officeDocument/2006/relationships/tags" Target="../tags/tag115.xml"/><Relationship Id="rId19" Type="http://schemas.openxmlformats.org/officeDocument/2006/relationships/tags" Target="../tags/tag124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tags" Target="../tags/tag12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0.vml"/><Relationship Id="rId15" Type="http://schemas.openxmlformats.org/officeDocument/2006/relationships/tags" Target="../tags/tag142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4" Type="http://schemas.openxmlformats.org/officeDocument/2006/relationships/theme" Target="../theme/theme7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69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34.vml"/><Relationship Id="rId11" Type="http://schemas.openxmlformats.org/officeDocument/2006/relationships/tags" Target="../tags/tag159.xml"/><Relationship Id="rId24" Type="http://schemas.openxmlformats.org/officeDocument/2006/relationships/oleObject" Target="../embeddings/oleObject34.bin"/><Relationship Id="rId5" Type="http://schemas.openxmlformats.org/officeDocument/2006/relationships/theme" Target="../theme/theme8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90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39.vml"/><Relationship Id="rId11" Type="http://schemas.openxmlformats.org/officeDocument/2006/relationships/tags" Target="../tags/tag180.xml"/><Relationship Id="rId24" Type="http://schemas.openxmlformats.org/officeDocument/2006/relationships/oleObject" Target="../embeddings/oleObject39.bin"/><Relationship Id="rId5" Type="http://schemas.openxmlformats.org/officeDocument/2006/relationships/theme" Target="../theme/theme9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10" Type="http://schemas.openxmlformats.org/officeDocument/2006/relationships/tags" Target="../tags/tag179.xml"/><Relationship Id="rId19" Type="http://schemas.openxmlformats.org/officeDocument/2006/relationships/tags" Target="../tags/tag188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78.xml"/><Relationship Id="rId14" Type="http://schemas.openxmlformats.org/officeDocument/2006/relationships/tags" Target="../tags/tag183.xml"/><Relationship Id="rId22" Type="http://schemas.openxmlformats.org/officeDocument/2006/relationships/tags" Target="../tags/tag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6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  <p:sldLayoutId id="214748378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3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2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2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23/2018 7:5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jpg"/><Relationship Id="rId2" Type="http://schemas.openxmlformats.org/officeDocument/2006/relationships/tags" Target="../tags/tag40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2.bin"/><Relationship Id="rId13" Type="http://schemas.openxmlformats.org/officeDocument/2006/relationships/image" Target="../media/image27.png"/><Relationship Id="rId3" Type="http://schemas.openxmlformats.org/officeDocument/2006/relationships/tags" Target="../tags/tag46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3.png"/><Relationship Id="rId2" Type="http://schemas.openxmlformats.org/officeDocument/2006/relationships/tags" Target="../tags/tag462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466.xml"/><Relationship Id="rId11" Type="http://schemas.openxmlformats.org/officeDocument/2006/relationships/image" Target="../media/image32.png"/><Relationship Id="rId5" Type="http://schemas.openxmlformats.org/officeDocument/2006/relationships/tags" Target="../tags/tag465.xml"/><Relationship Id="rId10" Type="http://schemas.openxmlformats.org/officeDocument/2006/relationships/image" Target="../media/image31.png"/><Relationship Id="rId4" Type="http://schemas.openxmlformats.org/officeDocument/2006/relationships/tags" Target="../tags/tag464.xml"/><Relationship Id="rId9" Type="http://schemas.openxmlformats.org/officeDocument/2006/relationships/image" Target="../media/image11.emf"/><Relationship Id="rId1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18" Type="http://schemas.openxmlformats.org/officeDocument/2006/relationships/image" Target="../media/image47.jpeg"/><Relationship Id="rId3" Type="http://schemas.openxmlformats.org/officeDocument/2006/relationships/tags" Target="../tags/tag468.xml"/><Relationship Id="rId7" Type="http://schemas.openxmlformats.org/officeDocument/2006/relationships/image" Target="../media/image36.jpeg"/><Relationship Id="rId12" Type="http://schemas.openxmlformats.org/officeDocument/2006/relationships/image" Target="../media/image41.png"/><Relationship Id="rId17" Type="http://schemas.openxmlformats.org/officeDocument/2006/relationships/image" Target="../media/image46.jpeg"/><Relationship Id="rId2" Type="http://schemas.openxmlformats.org/officeDocument/2006/relationships/tags" Target="../tags/tag467.xml"/><Relationship Id="rId16" Type="http://schemas.openxmlformats.org/officeDocument/2006/relationships/image" Target="../media/image45.jpeg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35.emf"/><Relationship Id="rId11" Type="http://schemas.openxmlformats.org/officeDocument/2006/relationships/image" Target="../media/image40.jpeg"/><Relationship Id="rId5" Type="http://schemas.openxmlformats.org/officeDocument/2006/relationships/oleObject" Target="../embeddings/oleObject103.bin"/><Relationship Id="rId15" Type="http://schemas.openxmlformats.org/officeDocument/2006/relationships/image" Target="../media/image44.jpeg"/><Relationship Id="rId10" Type="http://schemas.openxmlformats.org/officeDocument/2006/relationships/image" Target="../media/image39.jpeg"/><Relationship Id="rId19" Type="http://schemas.openxmlformats.org/officeDocument/2006/relationships/image" Target="../media/image4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8.jpeg"/><Relationship Id="rId1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8.xml"/><Relationship Id="rId7" Type="http://schemas.openxmlformats.org/officeDocument/2006/relationships/image" Target="../media/image16.jpeg"/><Relationship Id="rId2" Type="http://schemas.openxmlformats.org/officeDocument/2006/relationships/tags" Target="../tags/tag407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4.bin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410.xml"/><Relationship Id="rId7" Type="http://schemas.openxmlformats.org/officeDocument/2006/relationships/slideLayout" Target="../slideLayouts/slideLayout19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95.vml"/><Relationship Id="rId6" Type="http://schemas.openxmlformats.org/officeDocument/2006/relationships/tags" Target="../tags/tag413.xml"/><Relationship Id="rId5" Type="http://schemas.openxmlformats.org/officeDocument/2006/relationships/tags" Target="../tags/tag412.xml"/><Relationship Id="rId4" Type="http://schemas.openxmlformats.org/officeDocument/2006/relationships/tags" Target="../tags/tag411.xml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6.bin"/><Relationship Id="rId13" Type="http://schemas.openxmlformats.org/officeDocument/2006/relationships/image" Target="../media/image21.png"/><Relationship Id="rId3" Type="http://schemas.openxmlformats.org/officeDocument/2006/relationships/tags" Target="../tags/tag415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20.png"/><Relationship Id="rId2" Type="http://schemas.openxmlformats.org/officeDocument/2006/relationships/tags" Target="../tags/tag414.xml"/><Relationship Id="rId1" Type="http://schemas.openxmlformats.org/officeDocument/2006/relationships/vmlDrawing" Target="../drawings/vmlDrawing9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9.png"/><Relationship Id="rId5" Type="http://schemas.openxmlformats.org/officeDocument/2006/relationships/tags" Target="../tags/tag417.xml"/><Relationship Id="rId10" Type="http://schemas.openxmlformats.org/officeDocument/2006/relationships/image" Target="../media/image18.png"/><Relationship Id="rId4" Type="http://schemas.openxmlformats.org/officeDocument/2006/relationships/tags" Target="../tags/tag416.xml"/><Relationship Id="rId9" Type="http://schemas.openxmlformats.org/officeDocument/2006/relationships/image" Target="../media/image17.emf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19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97.bin"/><Relationship Id="rId4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31.xml"/><Relationship Id="rId18" Type="http://schemas.openxmlformats.org/officeDocument/2006/relationships/tags" Target="../tags/tag436.xml"/><Relationship Id="rId26" Type="http://schemas.openxmlformats.org/officeDocument/2006/relationships/tags" Target="../tags/tag444.xml"/><Relationship Id="rId21" Type="http://schemas.openxmlformats.org/officeDocument/2006/relationships/tags" Target="../tags/tag439.xml"/><Relationship Id="rId34" Type="http://schemas.openxmlformats.org/officeDocument/2006/relationships/image" Target="../media/image24.png"/><Relationship Id="rId7" Type="http://schemas.openxmlformats.org/officeDocument/2006/relationships/tags" Target="../tags/tag425.xml"/><Relationship Id="rId12" Type="http://schemas.openxmlformats.org/officeDocument/2006/relationships/tags" Target="../tags/tag430.xml"/><Relationship Id="rId17" Type="http://schemas.openxmlformats.org/officeDocument/2006/relationships/tags" Target="../tags/tag435.xml"/><Relationship Id="rId25" Type="http://schemas.openxmlformats.org/officeDocument/2006/relationships/tags" Target="../tags/tag443.xml"/><Relationship Id="rId33" Type="http://schemas.openxmlformats.org/officeDocument/2006/relationships/image" Target="../media/image6.emf"/><Relationship Id="rId38" Type="http://schemas.openxmlformats.org/officeDocument/2006/relationships/image" Target="../media/image28.png"/><Relationship Id="rId2" Type="http://schemas.openxmlformats.org/officeDocument/2006/relationships/tags" Target="../tags/tag420.xml"/><Relationship Id="rId16" Type="http://schemas.openxmlformats.org/officeDocument/2006/relationships/tags" Target="../tags/tag434.xml"/><Relationship Id="rId20" Type="http://schemas.openxmlformats.org/officeDocument/2006/relationships/tags" Target="../tags/tag438.xml"/><Relationship Id="rId29" Type="http://schemas.openxmlformats.org/officeDocument/2006/relationships/tags" Target="../tags/tag447.xml"/><Relationship Id="rId1" Type="http://schemas.openxmlformats.org/officeDocument/2006/relationships/vmlDrawing" Target="../drawings/vmlDrawing98.v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24" Type="http://schemas.openxmlformats.org/officeDocument/2006/relationships/tags" Target="../tags/tag442.xml"/><Relationship Id="rId32" Type="http://schemas.openxmlformats.org/officeDocument/2006/relationships/oleObject" Target="../embeddings/oleObject98.bin"/><Relationship Id="rId37" Type="http://schemas.openxmlformats.org/officeDocument/2006/relationships/image" Target="../media/image27.png"/><Relationship Id="rId5" Type="http://schemas.openxmlformats.org/officeDocument/2006/relationships/tags" Target="../tags/tag423.xml"/><Relationship Id="rId15" Type="http://schemas.openxmlformats.org/officeDocument/2006/relationships/tags" Target="../tags/tag433.xml"/><Relationship Id="rId23" Type="http://schemas.openxmlformats.org/officeDocument/2006/relationships/tags" Target="../tags/tag441.xml"/><Relationship Id="rId28" Type="http://schemas.openxmlformats.org/officeDocument/2006/relationships/tags" Target="../tags/tag446.xml"/><Relationship Id="rId36" Type="http://schemas.openxmlformats.org/officeDocument/2006/relationships/image" Target="../media/image26.png"/><Relationship Id="rId10" Type="http://schemas.openxmlformats.org/officeDocument/2006/relationships/tags" Target="../tags/tag428.xml"/><Relationship Id="rId19" Type="http://schemas.openxmlformats.org/officeDocument/2006/relationships/tags" Target="../tags/tag437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422.xml"/><Relationship Id="rId9" Type="http://schemas.openxmlformats.org/officeDocument/2006/relationships/tags" Target="../tags/tag427.xml"/><Relationship Id="rId14" Type="http://schemas.openxmlformats.org/officeDocument/2006/relationships/tags" Target="../tags/tag432.xml"/><Relationship Id="rId22" Type="http://schemas.openxmlformats.org/officeDocument/2006/relationships/tags" Target="../tags/tag440.xml"/><Relationship Id="rId27" Type="http://schemas.openxmlformats.org/officeDocument/2006/relationships/tags" Target="../tags/tag445.xml"/><Relationship Id="rId30" Type="http://schemas.openxmlformats.org/officeDocument/2006/relationships/slideLayout" Target="../slideLayouts/slideLayout19.xml"/><Relationship Id="rId35" Type="http://schemas.openxmlformats.org/officeDocument/2006/relationships/image" Target="../media/image25.png"/><Relationship Id="rId8" Type="http://schemas.openxmlformats.org/officeDocument/2006/relationships/tags" Target="../tags/tag426.xml"/><Relationship Id="rId3" Type="http://schemas.openxmlformats.org/officeDocument/2006/relationships/tags" Target="../tags/tag4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12" Type="http://schemas.openxmlformats.org/officeDocument/2006/relationships/image" Target="../media/image11.emf"/><Relationship Id="rId17" Type="http://schemas.openxmlformats.org/officeDocument/2006/relationships/image" Target="../media/image28.png"/><Relationship Id="rId2" Type="http://schemas.openxmlformats.org/officeDocument/2006/relationships/tags" Target="../tags/tag448.xml"/><Relationship Id="rId16" Type="http://schemas.openxmlformats.org/officeDocument/2006/relationships/image" Target="../media/image27.png"/><Relationship Id="rId1" Type="http://schemas.openxmlformats.org/officeDocument/2006/relationships/vmlDrawing" Target="../drawings/vmlDrawing99.vml"/><Relationship Id="rId6" Type="http://schemas.openxmlformats.org/officeDocument/2006/relationships/tags" Target="../tags/tag452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451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.xml"/><Relationship Id="rId4" Type="http://schemas.openxmlformats.org/officeDocument/2006/relationships/tags" Target="../tags/tag450.xml"/><Relationship Id="rId9" Type="http://schemas.openxmlformats.org/officeDocument/2006/relationships/tags" Target="../tags/tag455.xml"/><Relationship Id="rId1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7.png"/><Relationship Id="rId3" Type="http://schemas.openxmlformats.org/officeDocument/2006/relationships/tags" Target="../tags/tag457.xml"/><Relationship Id="rId7" Type="http://schemas.openxmlformats.org/officeDocument/2006/relationships/oleObject" Target="../embeddings/oleObject100.bin"/><Relationship Id="rId12" Type="http://schemas.openxmlformats.org/officeDocument/2006/relationships/image" Target="../media/image26.png"/><Relationship Id="rId2" Type="http://schemas.openxmlformats.org/officeDocument/2006/relationships/tags" Target="../tags/tag456.xml"/><Relationship Id="rId1" Type="http://schemas.openxmlformats.org/officeDocument/2006/relationships/vmlDrawing" Target="../drawings/vmlDrawing10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5.png"/><Relationship Id="rId5" Type="http://schemas.openxmlformats.org/officeDocument/2006/relationships/tags" Target="../tags/tag459.xml"/><Relationship Id="rId10" Type="http://schemas.openxmlformats.org/officeDocument/2006/relationships/image" Target="../media/image24.png"/><Relationship Id="rId4" Type="http://schemas.openxmlformats.org/officeDocument/2006/relationships/tags" Target="../tags/tag458.xml"/><Relationship Id="rId9" Type="http://schemas.openxmlformats.org/officeDocument/2006/relationships/image" Target="../media/image30.jpeg"/><Relationship Id="rId1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61.xml"/><Relationship Id="rId7" Type="http://schemas.openxmlformats.org/officeDocument/2006/relationships/image" Target="../media/image31.png"/><Relationship Id="rId2" Type="http://schemas.openxmlformats.org/officeDocument/2006/relationships/tags" Target="../tags/tag46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1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01.bin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66344"/>
              </p:ext>
            </p:extLst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8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 type"/>
          <p:cNvSpPr txBox="1">
            <a:spLocks noChangeArrowheads="1"/>
          </p:cNvSpPr>
          <p:nvPr/>
        </p:nvSpPr>
        <p:spPr bwMode="gray">
          <a:xfrm>
            <a:off x="3024489" y="3208519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Document for discussion | 15/01/2018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24489" y="2745264"/>
            <a:ext cx="8309252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GLOBAL MARKETING &amp; SALES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merging themes and first ide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147CE5-6FF0-4D3C-AC0E-C3D759A163F7}"/>
              </a:ext>
            </a:extLst>
          </p:cNvPr>
          <p:cNvSpPr txBox="1"/>
          <p:nvPr/>
        </p:nvSpPr>
        <p:spPr>
          <a:xfrm>
            <a:off x="6851650" y="493500"/>
            <a:ext cx="48585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rgbClr val="FF0000"/>
                </a:solidFill>
              </a:rPr>
              <a:t>Working draft based on interviews as of 12/01/2017</a:t>
            </a: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1" b="9061"/>
          <a:stretch/>
        </p:blipFill>
        <p:spPr>
          <a:xfrm>
            <a:off x="-1" y="0"/>
            <a:ext cx="11949113" cy="6721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E06EA2-0554-4273-BF69-C246667F6CD0}"/>
              </a:ext>
            </a:extLst>
          </p:cNvPr>
          <p:cNvSpPr>
            <a:spLocks/>
          </p:cNvSpPr>
          <p:nvPr/>
        </p:nvSpPr>
        <p:spPr>
          <a:xfrm>
            <a:off x="-1" y="0"/>
            <a:ext cx="11949113" cy="6721475"/>
          </a:xfrm>
          <a:prstGeom prst="rect">
            <a:avLst/>
          </a:prstGeom>
          <a:solidFill>
            <a:schemeClr val="accent4">
              <a:alpha val="50000"/>
            </a:schemeClr>
          </a:solidFill>
          <a:ln w="31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08050E5-41DE-476C-94FB-C4CAD6DBC9E8}"/>
              </a:ext>
            </a:extLst>
          </p:cNvPr>
          <p:cNvSpPr txBox="1">
            <a:spLocks/>
          </p:cNvSpPr>
          <p:nvPr/>
        </p:nvSpPr>
        <p:spPr bwMode="gray">
          <a:xfrm>
            <a:off x="4234" y="2198384"/>
            <a:ext cx="11944878" cy="1310308"/>
          </a:xfrm>
          <a:prstGeom prst="rect">
            <a:avLst/>
          </a:prstGeom>
          <a:solidFill>
            <a:srgbClr val="0065BD">
              <a:alpha val="43137"/>
            </a:srgbClr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000" kern="0" dirty="0">
                <a:solidFill>
                  <a:schemeClr val="bg1"/>
                </a:solidFill>
              </a:rPr>
              <a:t>Agile Marketing Organisation and Operating Model</a:t>
            </a:r>
          </a:p>
        </p:txBody>
      </p:sp>
      <p:sp>
        <p:nvSpPr>
          <p:cNvPr id="17" name="Disclaimer-template_Blue">
            <a:extLst>
              <a:ext uri="{FF2B5EF4-FFF2-40B4-BE49-F238E27FC236}">
                <a16:creationId xmlns:a16="http://schemas.microsoft.com/office/drawing/2014/main" id="{9FEA31A0-0683-4818-9E5E-EC510B2FE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938" y="5925006"/>
            <a:ext cx="802821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algn="ctr" defTabSz="804863" eaLnBrk="0" hangingPunct="0"/>
            <a:r>
              <a:rPr lang="en-US" sz="700" baseline="0" noProof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A6CE7F8-B0C3-466F-9BBD-599FA2629799}"/>
              </a:ext>
            </a:extLst>
          </p:cNvPr>
          <p:cNvSpPr txBox="1">
            <a:spLocks/>
          </p:cNvSpPr>
          <p:nvPr/>
        </p:nvSpPr>
        <p:spPr bwMode="gray">
          <a:xfrm>
            <a:off x="2135938" y="4156596"/>
            <a:ext cx="802821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kern="0" dirty="0">
                <a:solidFill>
                  <a:schemeClr val="bg1"/>
                </a:solidFill>
              </a:rPr>
              <a:t>Alex Harper</a:t>
            </a:r>
          </a:p>
          <a:p>
            <a:pPr algn="ctr"/>
            <a:r>
              <a:rPr lang="en-US" sz="1800" kern="0" dirty="0">
                <a:solidFill>
                  <a:schemeClr val="bg1"/>
                </a:solidFill>
              </a:rPr>
              <a:t>Emmanuelle Doublet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4554D3CB-BE76-454B-9C13-A4B72B5F7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0"/>
            <a:ext cx="666524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014</a:t>
            </a: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DC44CA0B-D3A8-45E6-A8A9-540CE0E855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0078"/>
            <a:ext cx="2355274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TTL</a:t>
            </a:r>
            <a:r>
              <a:rPr lang="pl-PL" sz="1000" b="1">
                <a:solidFill>
                  <a:srgbClr val="FFFFFF"/>
                </a:solidFill>
                <a:latin typeface="Arial" pitchFamily="34" charset="0"/>
              </a:rPr>
              <a:t>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851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" name="Object 170" hidden="1">
            <a:extLst>
              <a:ext uri="{FF2B5EF4-FFF2-40B4-BE49-F238E27FC236}">
                <a16:creationId xmlns:a16="http://schemas.microsoft.com/office/drawing/2014/main" id="{B163BAFC-6FF0-43ED-A09D-F48AA22835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495500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4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290D9-2847-46AE-8DF8-A31427440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se study – The regional marketing structure was built around squads and hubs</a:t>
            </a:r>
          </a:p>
        </p:txBody>
      </p:sp>
      <p:sp>
        <p:nvSpPr>
          <p:cNvPr id="181" name="4. Footnote">
            <a:extLst>
              <a:ext uri="{FF2B5EF4-FFF2-40B4-BE49-F238E27FC236}">
                <a16:creationId xmlns:a16="http://schemas.microsoft.com/office/drawing/2014/main" id="{8DD5ED61-848F-4C26-9CFC-277F94C11B4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8" y="6183549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1 Can have different types of squads, e.g. journey design squads, activation and campaign squads, or pricing squads</a:t>
            </a:r>
          </a:p>
          <a:p>
            <a:pPr marL="85725" indent="-85725">
              <a:defRPr/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2 Countries with sufficient scale may create parallel segment structure, in those without sufficient scale individual marketers work across segments collaborating with segment squads in Region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855F044D-D2D8-4693-B1BC-18D8F06534EB}"/>
              </a:ext>
            </a:extLst>
          </p:cNvPr>
          <p:cNvGrpSpPr/>
          <p:nvPr/>
        </p:nvGrpSpPr>
        <p:grpSpPr>
          <a:xfrm>
            <a:off x="7365284" y="48418"/>
            <a:ext cx="4416804" cy="163613"/>
            <a:chOff x="7365304" y="83710"/>
            <a:chExt cx="4416869" cy="163616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189D02D5-9DD9-4030-8209-D8399FA5E5C7}"/>
                </a:ext>
              </a:extLst>
            </p:cNvPr>
            <p:cNvSpPr>
              <a:spLocks/>
            </p:cNvSpPr>
            <p:nvPr/>
          </p:nvSpPr>
          <p:spPr>
            <a:xfrm>
              <a:off x="7365304" y="83710"/>
              <a:ext cx="4416869" cy="16361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BA250989-D752-4FF2-A8B4-423EF08D76D2}"/>
                </a:ext>
              </a:extLst>
            </p:cNvPr>
            <p:cNvSpPr/>
            <p:nvPr/>
          </p:nvSpPr>
          <p:spPr>
            <a:xfrm>
              <a:off x="9248855" y="83710"/>
              <a:ext cx="1069895" cy="163616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3CC389CE-AC38-409F-AE4D-0F92FF553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823" y="92880"/>
              <a:ext cx="152183" cy="152183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54142BEE-977B-4955-877A-1E9AD405CE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7623" y="86558"/>
              <a:ext cx="152183" cy="152183"/>
            </a:xfrm>
            <a:prstGeom prst="rect">
              <a:avLst/>
            </a:prstGeom>
          </p:spPr>
        </p:pic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24850B16-08E8-482A-AB8C-B9E94D688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36603" y="93711"/>
              <a:ext cx="152183" cy="152183"/>
            </a:xfrm>
            <a:prstGeom prst="rect">
              <a:avLst/>
            </a:prstGeom>
          </p:spPr>
        </p:pic>
        <p:pic>
          <p:nvPicPr>
            <p:cNvPr id="164" name="Picture 163">
              <a:extLst>
                <a:ext uri="{FF2B5EF4-FFF2-40B4-BE49-F238E27FC236}">
                  <a16:creationId xmlns:a16="http://schemas.microsoft.com/office/drawing/2014/main" id="{14BDA56F-4B34-4CC0-96C1-BA794EF71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11867" y="99235"/>
              <a:ext cx="152183" cy="141136"/>
            </a:xfrm>
            <a:prstGeom prst="rect">
              <a:avLst/>
            </a:prstGeom>
          </p:spPr>
        </p:pic>
        <p:pic>
          <p:nvPicPr>
            <p:cNvPr id="165" name="Picture 164">
              <a:extLst>
                <a:ext uri="{FF2B5EF4-FFF2-40B4-BE49-F238E27FC236}">
                  <a16:creationId xmlns:a16="http://schemas.microsoft.com/office/drawing/2014/main" id="{B9D1FE46-A884-4D6A-8CB1-B7C6CD3EF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38724" y="93711"/>
              <a:ext cx="152183" cy="152183"/>
            </a:xfrm>
            <a:prstGeom prst="rect">
              <a:avLst/>
            </a:prstGeom>
          </p:spPr>
        </p:pic>
        <p:sp>
          <p:nvSpPr>
            <p:cNvPr id="166" name="Chevron 58">
              <a:extLst>
                <a:ext uri="{FF2B5EF4-FFF2-40B4-BE49-F238E27FC236}">
                  <a16:creationId xmlns:a16="http://schemas.microsoft.com/office/drawing/2014/main" id="{50C1E95A-2504-4714-ACDC-E6FA57DFEBD0}"/>
                </a:ext>
              </a:extLst>
            </p:cNvPr>
            <p:cNvSpPr/>
            <p:nvPr/>
          </p:nvSpPr>
          <p:spPr>
            <a:xfrm>
              <a:off x="826269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67" name="Chevron 59">
              <a:extLst>
                <a:ext uri="{FF2B5EF4-FFF2-40B4-BE49-F238E27FC236}">
                  <a16:creationId xmlns:a16="http://schemas.microsoft.com/office/drawing/2014/main" id="{95F5FA3A-7E52-4520-AA71-F333ABF1B6AA}"/>
                </a:ext>
              </a:extLst>
            </p:cNvPr>
            <p:cNvSpPr/>
            <p:nvPr/>
          </p:nvSpPr>
          <p:spPr>
            <a:xfrm>
              <a:off x="922306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68" name="Chevron 60">
              <a:extLst>
                <a:ext uri="{FF2B5EF4-FFF2-40B4-BE49-F238E27FC236}">
                  <a16:creationId xmlns:a16="http://schemas.microsoft.com/office/drawing/2014/main" id="{FB1AC311-8857-42FF-85E9-3B88A9E12637}"/>
                </a:ext>
              </a:extLst>
            </p:cNvPr>
            <p:cNvSpPr/>
            <p:nvPr/>
          </p:nvSpPr>
          <p:spPr>
            <a:xfrm>
              <a:off x="10283900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69" name="Chevron 61">
              <a:extLst>
                <a:ext uri="{FF2B5EF4-FFF2-40B4-BE49-F238E27FC236}">
                  <a16:creationId xmlns:a16="http://schemas.microsoft.com/office/drawing/2014/main" id="{91651ABA-BBB5-4B44-828C-A4549BE62615}"/>
                </a:ext>
              </a:extLst>
            </p:cNvPr>
            <p:cNvSpPr/>
            <p:nvPr/>
          </p:nvSpPr>
          <p:spPr>
            <a:xfrm>
              <a:off x="1099677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8685BD7-A95D-4224-BF84-642B0CAAB25F}"/>
              </a:ext>
            </a:extLst>
          </p:cNvPr>
          <p:cNvSpPr txBox="1">
            <a:spLocks/>
          </p:cNvSpPr>
          <p:nvPr/>
        </p:nvSpPr>
        <p:spPr>
          <a:xfrm>
            <a:off x="1281538" y="4137288"/>
            <a:ext cx="1381388" cy="48017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Region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714F4AF-2506-440F-914A-ACE34122CC66}"/>
              </a:ext>
            </a:extLst>
          </p:cNvPr>
          <p:cNvSpPr txBox="1">
            <a:spLocks/>
          </p:cNvSpPr>
          <p:nvPr/>
        </p:nvSpPr>
        <p:spPr>
          <a:xfrm>
            <a:off x="1160783" y="4212283"/>
            <a:ext cx="1381388" cy="48017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Region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05A0CED-9E6D-4290-8546-CBAD40E0A444}"/>
              </a:ext>
            </a:extLst>
          </p:cNvPr>
          <p:cNvSpPr txBox="1">
            <a:spLocks/>
          </p:cNvSpPr>
          <p:nvPr/>
        </p:nvSpPr>
        <p:spPr>
          <a:xfrm>
            <a:off x="1032938" y="4298233"/>
            <a:ext cx="1381388" cy="48017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Reg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4BE392-53FF-43F6-BA71-7908E27640BE}"/>
              </a:ext>
            </a:extLst>
          </p:cNvPr>
          <p:cNvSpPr txBox="1">
            <a:spLocks/>
          </p:cNvSpPr>
          <p:nvPr/>
        </p:nvSpPr>
        <p:spPr>
          <a:xfrm>
            <a:off x="914980" y="4403772"/>
            <a:ext cx="1381388" cy="48017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Reg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C11EAFA-E24A-4208-8F7B-1EB9934F7840}"/>
              </a:ext>
            </a:extLst>
          </p:cNvPr>
          <p:cNvSpPr txBox="1">
            <a:spLocks/>
          </p:cNvSpPr>
          <p:nvPr/>
        </p:nvSpPr>
        <p:spPr>
          <a:xfrm>
            <a:off x="815902" y="4497463"/>
            <a:ext cx="1381388" cy="480176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COUNTRY/ SUBREG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D5C579D-1599-4238-831E-0BF633732C51}"/>
              </a:ext>
            </a:extLst>
          </p:cNvPr>
          <p:cNvSpPr txBox="1">
            <a:spLocks/>
          </p:cNvSpPr>
          <p:nvPr/>
        </p:nvSpPr>
        <p:spPr>
          <a:xfrm>
            <a:off x="1498248" y="5652608"/>
            <a:ext cx="1743051" cy="301041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  <a:prstDash val="dash"/>
          </a:ln>
        </p:spPr>
        <p:txBody>
          <a:bodyPr vert="horz" wrap="square" lIns="38099" tIns="38099" rIns="38099" bIns="3809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9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Pric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47D881-595C-4C87-AB5A-86F4079EA24E}"/>
              </a:ext>
            </a:extLst>
          </p:cNvPr>
          <p:cNvSpPr txBox="1">
            <a:spLocks/>
          </p:cNvSpPr>
          <p:nvPr/>
        </p:nvSpPr>
        <p:spPr>
          <a:xfrm>
            <a:off x="1497812" y="5123683"/>
            <a:ext cx="1743531" cy="4268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8099" tIns="38099" rIns="38099" bIns="3809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307" dirty="0"/>
              <a:t>Country integrated marketing</a:t>
            </a:r>
            <a:r>
              <a:rPr lang="en-US" sz="1307" baseline="30000" dirty="0"/>
              <a:t>2</a:t>
            </a:r>
            <a:r>
              <a:rPr lang="en-US" sz="1307" dirty="0"/>
              <a:t> </a:t>
            </a: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BDB50662-5209-4AB0-96BF-C7B9E5FC3531}"/>
              </a:ext>
            </a:extLst>
          </p:cNvPr>
          <p:cNvCxnSpPr>
            <a:cxnSpLocks/>
            <a:endCxn id="44" idx="1"/>
          </p:cNvCxnSpPr>
          <p:nvPr/>
        </p:nvCxnSpPr>
        <p:spPr>
          <a:xfrm rot="16200000" flipH="1">
            <a:off x="776946" y="5081829"/>
            <a:ext cx="859113" cy="583486"/>
          </a:xfrm>
          <a:prstGeom prst="bentConnector2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E938412F-3E4A-4D4C-AE48-8F3270525895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914762" y="4972364"/>
            <a:ext cx="583051" cy="364764"/>
          </a:xfrm>
          <a:prstGeom prst="bentConnector3">
            <a:avLst>
              <a:gd name="adj1" fmla="val -531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2B5DF894-B790-4436-B8BD-6AC31F59DC34}"/>
              </a:ext>
            </a:extLst>
          </p:cNvPr>
          <p:cNvCxnSpPr>
            <a:cxnSpLocks/>
            <a:stCxn id="26" idx="2"/>
            <a:endCxn id="40" idx="0"/>
          </p:cNvCxnSpPr>
          <p:nvPr/>
        </p:nvCxnSpPr>
        <p:spPr>
          <a:xfrm>
            <a:off x="1466601" y="1256650"/>
            <a:ext cx="39995" cy="324081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EF434FB0-F6B8-4062-A4E9-54E9948E8AB4}"/>
              </a:ext>
            </a:extLst>
          </p:cNvPr>
          <p:cNvSpPr>
            <a:spLocks/>
          </p:cNvSpPr>
          <p:nvPr/>
        </p:nvSpPr>
        <p:spPr>
          <a:xfrm rot="5400000">
            <a:off x="4245925" y="1297286"/>
            <a:ext cx="265689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7F0684-A409-4D94-B3C7-C40313638D9B}"/>
              </a:ext>
            </a:extLst>
          </p:cNvPr>
          <p:cNvSpPr>
            <a:spLocks/>
          </p:cNvSpPr>
          <p:nvPr/>
        </p:nvSpPr>
        <p:spPr>
          <a:xfrm rot="5400000">
            <a:off x="4245925" y="328927"/>
            <a:ext cx="265689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ED5B32-4F2A-4D0E-A89E-8019F35E6ABC}"/>
              </a:ext>
            </a:extLst>
          </p:cNvPr>
          <p:cNvSpPr txBox="1"/>
          <p:nvPr/>
        </p:nvSpPr>
        <p:spPr>
          <a:xfrm>
            <a:off x="5669019" y="2799410"/>
            <a:ext cx="1256649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Pric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7EC8DB-8533-455E-BDC3-DCE26773B8FA}"/>
              </a:ext>
            </a:extLst>
          </p:cNvPr>
          <p:cNvSpPr>
            <a:spLocks/>
          </p:cNvSpPr>
          <p:nvPr/>
        </p:nvSpPr>
        <p:spPr>
          <a:xfrm rot="5400000">
            <a:off x="4245925" y="651788"/>
            <a:ext cx="265689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298732-1E4C-4A66-B6E6-CAA2BA9C111C}"/>
              </a:ext>
            </a:extLst>
          </p:cNvPr>
          <p:cNvSpPr txBox="1"/>
          <p:nvPr/>
        </p:nvSpPr>
        <p:spPr>
          <a:xfrm>
            <a:off x="5669019" y="3123553"/>
            <a:ext cx="1256649" cy="4103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Experience desig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CB17DD8-87A1-4D3F-8D28-EC2F145EEE16}"/>
              </a:ext>
            </a:extLst>
          </p:cNvPr>
          <p:cNvSpPr>
            <a:spLocks/>
          </p:cNvSpPr>
          <p:nvPr/>
        </p:nvSpPr>
        <p:spPr>
          <a:xfrm rot="5400000">
            <a:off x="4245925" y="974644"/>
            <a:ext cx="265689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FEC7DF-230F-407B-B78E-F1BFB1BAD228}"/>
              </a:ext>
            </a:extLst>
          </p:cNvPr>
          <p:cNvSpPr txBox="1"/>
          <p:nvPr/>
        </p:nvSpPr>
        <p:spPr>
          <a:xfrm>
            <a:off x="5515941" y="3084722"/>
            <a:ext cx="1001474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endParaRPr lang="en-US" sz="1307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2C323F-DE37-4E7D-A235-0D9FD45541D9}"/>
              </a:ext>
            </a:extLst>
          </p:cNvPr>
          <p:cNvSpPr>
            <a:spLocks/>
          </p:cNvSpPr>
          <p:nvPr/>
        </p:nvSpPr>
        <p:spPr>
          <a:xfrm rot="5400000">
            <a:off x="4245925" y="6069"/>
            <a:ext cx="265689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A960F3-2E1E-4B1C-BF8B-656F9041A1F2}"/>
              </a:ext>
            </a:extLst>
          </p:cNvPr>
          <p:cNvSpPr>
            <a:spLocks/>
          </p:cNvSpPr>
          <p:nvPr/>
        </p:nvSpPr>
        <p:spPr>
          <a:xfrm rot="5400000">
            <a:off x="4235675" y="-321432"/>
            <a:ext cx="286192" cy="519360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8992D3-2D36-4A9D-83AD-8BD49605477F}"/>
              </a:ext>
            </a:extLst>
          </p:cNvPr>
          <p:cNvSpPr txBox="1"/>
          <p:nvPr/>
        </p:nvSpPr>
        <p:spPr>
          <a:xfrm>
            <a:off x="5085471" y="2502203"/>
            <a:ext cx="1840197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Data / Analytic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EE3311-22D2-43F9-A370-9087E44C81C4}"/>
              </a:ext>
            </a:extLst>
          </p:cNvPr>
          <p:cNvSpPr txBox="1"/>
          <p:nvPr/>
        </p:nvSpPr>
        <p:spPr>
          <a:xfrm>
            <a:off x="5669019" y="3453058"/>
            <a:ext cx="1256649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Sa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74E13F-861A-4885-B2FD-A5E858B99E33}"/>
              </a:ext>
            </a:extLst>
          </p:cNvPr>
          <p:cNvSpPr txBox="1">
            <a:spLocks/>
          </p:cNvSpPr>
          <p:nvPr/>
        </p:nvSpPr>
        <p:spPr>
          <a:xfrm>
            <a:off x="815904" y="829421"/>
            <a:ext cx="1301391" cy="42722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200"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REGION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CB9BDBEB-C52A-4B0C-A45B-18E7A62E6BA8}"/>
              </a:ext>
            </a:extLst>
          </p:cNvPr>
          <p:cNvCxnSpPr>
            <a:cxnSpLocks/>
            <a:stCxn id="26" idx="2"/>
            <a:endCxn id="4" idx="0"/>
          </p:cNvCxnSpPr>
          <p:nvPr/>
        </p:nvCxnSpPr>
        <p:spPr>
          <a:xfrm rot="16200000" flipH="1">
            <a:off x="2903061" y="-179810"/>
            <a:ext cx="163285" cy="303620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AD774F46-1EFB-4AFD-976C-6A025CA4F60C}"/>
              </a:ext>
            </a:extLst>
          </p:cNvPr>
          <p:cNvCxnSpPr>
            <a:cxnSpLocks/>
            <a:stCxn id="26" idx="2"/>
            <a:endCxn id="3" idx="0"/>
          </p:cNvCxnSpPr>
          <p:nvPr/>
        </p:nvCxnSpPr>
        <p:spPr>
          <a:xfrm rot="16200000" flipH="1">
            <a:off x="2327403" y="395847"/>
            <a:ext cx="163285" cy="188488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10D7AC0E-A007-4ED9-84CD-7E35288E3608}"/>
              </a:ext>
            </a:extLst>
          </p:cNvPr>
          <p:cNvCxnSpPr>
            <a:cxnSpLocks/>
            <a:stCxn id="26" idx="2"/>
            <a:endCxn id="5" idx="0"/>
          </p:cNvCxnSpPr>
          <p:nvPr/>
        </p:nvCxnSpPr>
        <p:spPr>
          <a:xfrm rot="16200000" flipH="1">
            <a:off x="1751743" y="971506"/>
            <a:ext cx="163285" cy="733571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DF7D64EA-9ED7-4D8F-958A-23A5551DD7AB}"/>
              </a:ext>
            </a:extLst>
          </p:cNvPr>
          <p:cNvSpPr txBox="1">
            <a:spLocks/>
          </p:cNvSpPr>
          <p:nvPr/>
        </p:nvSpPr>
        <p:spPr>
          <a:xfrm rot="5400000">
            <a:off x="1134447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87CA8AB-3C47-4AE5-9607-03498AFC090D}"/>
              </a:ext>
            </a:extLst>
          </p:cNvPr>
          <p:cNvGrpSpPr/>
          <p:nvPr/>
        </p:nvGrpSpPr>
        <p:grpSpPr>
          <a:xfrm>
            <a:off x="2046356" y="3478531"/>
            <a:ext cx="196549" cy="159899"/>
            <a:chOff x="2119277" y="4228454"/>
            <a:chExt cx="147185" cy="147601"/>
          </a:xfrm>
        </p:grpSpPr>
        <p:sp>
          <p:nvSpPr>
            <p:cNvPr id="82" name="Freeform 5">
              <a:extLst>
                <a:ext uri="{FF2B5EF4-FFF2-40B4-BE49-F238E27FC236}">
                  <a16:creationId xmlns:a16="http://schemas.microsoft.com/office/drawing/2014/main" id="{55F15748-8E76-46FB-AF4A-36C02BA75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0AE8D32B-EE6E-4DB2-AB89-4F1F09A201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1A7EB1D-BF0F-4B85-A110-C4BD3F70E054}"/>
              </a:ext>
            </a:extLst>
          </p:cNvPr>
          <p:cNvGrpSpPr/>
          <p:nvPr/>
        </p:nvGrpSpPr>
        <p:grpSpPr>
          <a:xfrm>
            <a:off x="2046356" y="3154870"/>
            <a:ext cx="196549" cy="159899"/>
            <a:chOff x="2119277" y="4228454"/>
            <a:chExt cx="147185" cy="147601"/>
          </a:xfrm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4CAF9BEA-4CD7-47DD-ABCD-581927035E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447DAC91-9787-404D-966B-C84B47256E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1A0A0DF-85DA-4C93-B3C9-CB21BA886943}"/>
              </a:ext>
            </a:extLst>
          </p:cNvPr>
          <p:cNvGrpSpPr/>
          <p:nvPr/>
        </p:nvGrpSpPr>
        <p:grpSpPr>
          <a:xfrm>
            <a:off x="2046356" y="2854125"/>
            <a:ext cx="196549" cy="159899"/>
            <a:chOff x="2119277" y="4228454"/>
            <a:chExt cx="147185" cy="147601"/>
          </a:xfrm>
        </p:grpSpPr>
        <p:sp>
          <p:nvSpPr>
            <p:cNvPr id="78" name="Freeform 5">
              <a:extLst>
                <a:ext uri="{FF2B5EF4-FFF2-40B4-BE49-F238E27FC236}">
                  <a16:creationId xmlns:a16="http://schemas.microsoft.com/office/drawing/2014/main" id="{34B78954-D7D6-4D80-B14C-DADFD8035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02D0457F-ADDF-476C-8298-8444A1FFC3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A61984E-9906-4EF5-9DD1-9F64C0A2C1F3}"/>
              </a:ext>
            </a:extLst>
          </p:cNvPr>
          <p:cNvGrpSpPr/>
          <p:nvPr/>
        </p:nvGrpSpPr>
        <p:grpSpPr>
          <a:xfrm>
            <a:off x="2046356" y="2502673"/>
            <a:ext cx="196549" cy="159899"/>
            <a:chOff x="2119277" y="4228454"/>
            <a:chExt cx="147185" cy="147601"/>
          </a:xfrm>
          <a:solidFill>
            <a:schemeClr val="accent3"/>
          </a:solidFill>
        </p:grpSpPr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D989ADB1-9A04-4962-AE16-7A53D598F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0F150D63-D820-4B88-99A0-D78E1F9510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E75152D-97EF-4FA6-80F4-93AFF4343493}"/>
              </a:ext>
            </a:extLst>
          </p:cNvPr>
          <p:cNvGrpSpPr/>
          <p:nvPr/>
        </p:nvGrpSpPr>
        <p:grpSpPr>
          <a:xfrm>
            <a:off x="2046356" y="2214664"/>
            <a:ext cx="196549" cy="159899"/>
            <a:chOff x="2119277" y="4228454"/>
            <a:chExt cx="147185" cy="147601"/>
          </a:xfrm>
          <a:solidFill>
            <a:schemeClr val="bg1"/>
          </a:solidFill>
        </p:grpSpPr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00E71CD9-1E8F-4CF9-8864-B5118ED063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FA4DE838-6698-42BD-8C9A-15822B2C7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DFEBFE4E-413F-4AFE-BD33-246DE288936F}"/>
              </a:ext>
            </a:extLst>
          </p:cNvPr>
          <p:cNvSpPr txBox="1">
            <a:spLocks/>
          </p:cNvSpPr>
          <p:nvPr/>
        </p:nvSpPr>
        <p:spPr>
          <a:xfrm rot="5400000">
            <a:off x="1551107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9E912C8-C1F8-4B26-BD94-B9560A9E0A10}"/>
              </a:ext>
            </a:extLst>
          </p:cNvPr>
          <p:cNvGrpSpPr/>
          <p:nvPr/>
        </p:nvGrpSpPr>
        <p:grpSpPr>
          <a:xfrm>
            <a:off x="2463016" y="3478531"/>
            <a:ext cx="196549" cy="159899"/>
            <a:chOff x="2119277" y="4228454"/>
            <a:chExt cx="147185" cy="147601"/>
          </a:xfrm>
        </p:grpSpPr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168CEA20-9BF7-4927-BB11-EE96DBC45B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3C8A08C2-648D-44CC-AF6B-3489412E8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C0B64A5-D5F2-454D-B2ED-F2C5E08461E5}"/>
              </a:ext>
            </a:extLst>
          </p:cNvPr>
          <p:cNvGrpSpPr/>
          <p:nvPr/>
        </p:nvGrpSpPr>
        <p:grpSpPr>
          <a:xfrm>
            <a:off x="2463016" y="3154870"/>
            <a:ext cx="196549" cy="159899"/>
            <a:chOff x="2119277" y="4228454"/>
            <a:chExt cx="147185" cy="147601"/>
          </a:xfrm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0DF5761E-FD3E-4035-8B96-EAEBED3719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9C9565E9-F256-48AF-99B5-5FB3F3A02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solidFill>
              <a:schemeClr val="accent3"/>
            </a:solidFill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F627F43-B635-43CA-8805-61C18ABF3E74}"/>
              </a:ext>
            </a:extLst>
          </p:cNvPr>
          <p:cNvGrpSpPr/>
          <p:nvPr/>
        </p:nvGrpSpPr>
        <p:grpSpPr>
          <a:xfrm>
            <a:off x="2463016" y="2854125"/>
            <a:ext cx="196549" cy="159899"/>
            <a:chOff x="2119277" y="4228454"/>
            <a:chExt cx="147185" cy="147601"/>
          </a:xfrm>
          <a:solidFill>
            <a:schemeClr val="bg1"/>
          </a:solidFill>
        </p:grpSpPr>
        <p:sp>
          <p:nvSpPr>
            <p:cNvPr id="68" name="Freeform 5">
              <a:extLst>
                <a:ext uri="{FF2B5EF4-FFF2-40B4-BE49-F238E27FC236}">
                  <a16:creationId xmlns:a16="http://schemas.microsoft.com/office/drawing/2014/main" id="{1C2008B8-FF9E-4134-A7BC-82EE839349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99E22051-0B78-4960-9F36-989C1E3B4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E5A7927-35D8-498E-A03A-34488A89DA28}"/>
              </a:ext>
            </a:extLst>
          </p:cNvPr>
          <p:cNvGrpSpPr/>
          <p:nvPr/>
        </p:nvGrpSpPr>
        <p:grpSpPr>
          <a:xfrm>
            <a:off x="2463016" y="2502673"/>
            <a:ext cx="196549" cy="159899"/>
            <a:chOff x="2119277" y="4228454"/>
            <a:chExt cx="147185" cy="147601"/>
          </a:xfrm>
          <a:solidFill>
            <a:schemeClr val="accent3"/>
          </a:solidFill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2980D0F6-30AA-4B50-8289-903ED9D1A3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BAD31ACE-D09B-45F7-8309-C0ED7A47B6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AC59A6A-D7E6-4E10-B67C-180828144A64}"/>
              </a:ext>
            </a:extLst>
          </p:cNvPr>
          <p:cNvGrpSpPr/>
          <p:nvPr/>
        </p:nvGrpSpPr>
        <p:grpSpPr>
          <a:xfrm>
            <a:off x="2463016" y="2214664"/>
            <a:ext cx="196549" cy="159899"/>
            <a:chOff x="2119277" y="4228454"/>
            <a:chExt cx="147185" cy="147601"/>
          </a:xfrm>
          <a:solidFill>
            <a:schemeClr val="accent3"/>
          </a:solidFill>
        </p:grpSpPr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31815ED6-70DA-4D4D-A013-02D4E43B2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0754" y="4228454"/>
              <a:ext cx="84230" cy="97675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2 h 245"/>
                <a:gd name="T4" fmla="*/ 123 w 245"/>
                <a:gd name="T5" fmla="*/ 0 h 245"/>
                <a:gd name="T6" fmla="*/ 245 w 245"/>
                <a:gd name="T7" fmla="*/ 122 h 245"/>
                <a:gd name="T8" fmla="*/ 123 w 245"/>
                <a:gd name="T9" fmla="*/ 245 h 245"/>
                <a:gd name="T10" fmla="*/ 123 w 245"/>
                <a:gd name="T11" fmla="*/ 18 h 245"/>
                <a:gd name="T12" fmla="*/ 18 w 245"/>
                <a:gd name="T13" fmla="*/ 122 h 245"/>
                <a:gd name="T14" fmla="*/ 123 w 245"/>
                <a:gd name="T15" fmla="*/ 227 h 245"/>
                <a:gd name="T16" fmla="*/ 227 w 245"/>
                <a:gd name="T17" fmla="*/ 122 h 245"/>
                <a:gd name="T18" fmla="*/ 123 w 245"/>
                <a:gd name="T19" fmla="*/ 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2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2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8"/>
                  </a:moveTo>
                  <a:cubicBezTo>
                    <a:pt x="65" y="18"/>
                    <a:pt x="18" y="65"/>
                    <a:pt x="18" y="122"/>
                  </a:cubicBezTo>
                  <a:cubicBezTo>
                    <a:pt x="18" y="180"/>
                    <a:pt x="65" y="227"/>
                    <a:pt x="123" y="227"/>
                  </a:cubicBezTo>
                  <a:cubicBezTo>
                    <a:pt x="180" y="227"/>
                    <a:pt x="227" y="180"/>
                    <a:pt x="227" y="122"/>
                  </a:cubicBezTo>
                  <a:cubicBezTo>
                    <a:pt x="227" y="65"/>
                    <a:pt x="180" y="18"/>
                    <a:pt x="123" y="18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BA2ECB42-C38B-443F-833D-A16FB7F801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277" y="4324119"/>
              <a:ext cx="147185" cy="51936"/>
            </a:xfrm>
            <a:custGeom>
              <a:avLst/>
              <a:gdLst>
                <a:gd name="T0" fmla="*/ 418 w 428"/>
                <a:gd name="T1" fmla="*/ 130 h 130"/>
                <a:gd name="T2" fmla="*/ 9 w 428"/>
                <a:gd name="T3" fmla="*/ 130 h 130"/>
                <a:gd name="T4" fmla="*/ 2 w 428"/>
                <a:gd name="T5" fmla="*/ 128 h 130"/>
                <a:gd name="T6" fmla="*/ 0 w 428"/>
                <a:gd name="T7" fmla="*/ 120 h 130"/>
                <a:gd name="T8" fmla="*/ 24 w 428"/>
                <a:gd name="T9" fmla="*/ 60 h 130"/>
                <a:gd name="T10" fmla="*/ 148 w 428"/>
                <a:gd name="T11" fmla="*/ 0 h 130"/>
                <a:gd name="T12" fmla="*/ 155 w 428"/>
                <a:gd name="T13" fmla="*/ 2 h 130"/>
                <a:gd name="T14" fmla="*/ 214 w 428"/>
                <a:gd name="T15" fmla="*/ 61 h 130"/>
                <a:gd name="T16" fmla="*/ 273 w 428"/>
                <a:gd name="T17" fmla="*/ 2 h 130"/>
                <a:gd name="T18" fmla="*/ 279 w 428"/>
                <a:gd name="T19" fmla="*/ 0 h 130"/>
                <a:gd name="T20" fmla="*/ 404 w 428"/>
                <a:gd name="T21" fmla="*/ 60 h 130"/>
                <a:gd name="T22" fmla="*/ 427 w 428"/>
                <a:gd name="T23" fmla="*/ 121 h 130"/>
                <a:gd name="T24" fmla="*/ 425 w 428"/>
                <a:gd name="T25" fmla="*/ 128 h 130"/>
                <a:gd name="T26" fmla="*/ 418 w 428"/>
                <a:gd name="T27" fmla="*/ 130 h 130"/>
                <a:gd name="T28" fmla="*/ 20 w 428"/>
                <a:gd name="T29" fmla="*/ 112 h 130"/>
                <a:gd name="T30" fmla="*/ 407 w 428"/>
                <a:gd name="T31" fmla="*/ 112 h 130"/>
                <a:gd name="T32" fmla="*/ 283 w 428"/>
                <a:gd name="T33" fmla="*/ 18 h 130"/>
                <a:gd name="T34" fmla="*/ 221 w 428"/>
                <a:gd name="T35" fmla="*/ 81 h 130"/>
                <a:gd name="T36" fmla="*/ 207 w 428"/>
                <a:gd name="T37" fmla="*/ 81 h 130"/>
                <a:gd name="T38" fmla="*/ 145 w 428"/>
                <a:gd name="T39" fmla="*/ 18 h 130"/>
                <a:gd name="T40" fmla="*/ 20 w 428"/>
                <a:gd name="T41" fmla="*/ 11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8" h="130">
                  <a:moveTo>
                    <a:pt x="418" y="130"/>
                  </a:moveTo>
                  <a:cubicBezTo>
                    <a:pt x="9" y="130"/>
                    <a:pt x="9" y="130"/>
                    <a:pt x="9" y="130"/>
                  </a:cubicBezTo>
                  <a:cubicBezTo>
                    <a:pt x="6" y="130"/>
                    <a:pt x="4" y="129"/>
                    <a:pt x="2" y="128"/>
                  </a:cubicBezTo>
                  <a:cubicBezTo>
                    <a:pt x="1" y="125"/>
                    <a:pt x="0" y="123"/>
                    <a:pt x="0" y="120"/>
                  </a:cubicBezTo>
                  <a:cubicBezTo>
                    <a:pt x="0" y="119"/>
                    <a:pt x="4" y="90"/>
                    <a:pt x="24" y="60"/>
                  </a:cubicBezTo>
                  <a:cubicBezTo>
                    <a:pt x="43" y="33"/>
                    <a:pt x="79" y="0"/>
                    <a:pt x="148" y="0"/>
                  </a:cubicBezTo>
                  <a:cubicBezTo>
                    <a:pt x="151" y="0"/>
                    <a:pt x="153" y="1"/>
                    <a:pt x="155" y="2"/>
                  </a:cubicBezTo>
                  <a:cubicBezTo>
                    <a:pt x="214" y="61"/>
                    <a:pt x="214" y="61"/>
                    <a:pt x="214" y="61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5" y="1"/>
                    <a:pt x="277" y="0"/>
                    <a:pt x="279" y="0"/>
                  </a:cubicBezTo>
                  <a:cubicBezTo>
                    <a:pt x="348" y="0"/>
                    <a:pt x="385" y="33"/>
                    <a:pt x="404" y="60"/>
                  </a:cubicBezTo>
                  <a:cubicBezTo>
                    <a:pt x="423" y="90"/>
                    <a:pt x="427" y="119"/>
                    <a:pt x="427" y="121"/>
                  </a:cubicBezTo>
                  <a:cubicBezTo>
                    <a:pt x="428" y="123"/>
                    <a:pt x="427" y="125"/>
                    <a:pt x="425" y="128"/>
                  </a:cubicBezTo>
                  <a:cubicBezTo>
                    <a:pt x="423" y="129"/>
                    <a:pt x="421" y="130"/>
                    <a:pt x="418" y="130"/>
                  </a:cubicBezTo>
                  <a:close/>
                  <a:moveTo>
                    <a:pt x="20" y="112"/>
                  </a:moveTo>
                  <a:cubicBezTo>
                    <a:pt x="407" y="112"/>
                    <a:pt x="407" y="112"/>
                    <a:pt x="407" y="112"/>
                  </a:cubicBezTo>
                  <a:cubicBezTo>
                    <a:pt x="401" y="87"/>
                    <a:pt x="376" y="19"/>
                    <a:pt x="283" y="18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17" y="84"/>
                    <a:pt x="211" y="84"/>
                    <a:pt x="207" y="81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52" y="19"/>
                    <a:pt x="27" y="87"/>
                    <a:pt x="20" y="112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7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C5921E1C-3265-4CC4-99B3-97FC61778F34}"/>
              </a:ext>
            </a:extLst>
          </p:cNvPr>
          <p:cNvSpPr txBox="1">
            <a:spLocks/>
          </p:cNvSpPr>
          <p:nvPr/>
        </p:nvSpPr>
        <p:spPr>
          <a:xfrm rot="5400000">
            <a:off x="2147976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sp>
        <p:nvSpPr>
          <p:cNvPr id="86" name="Freeform 5">
            <a:extLst>
              <a:ext uri="{FF2B5EF4-FFF2-40B4-BE49-F238E27FC236}">
                <a16:creationId xmlns:a16="http://schemas.microsoft.com/office/drawing/2014/main" id="{AD83E410-0224-4705-B7B5-4881B17735FD}"/>
              </a:ext>
            </a:extLst>
          </p:cNvPr>
          <p:cNvSpPr>
            <a:spLocks noEditPoints="1"/>
          </p:cNvSpPr>
          <p:nvPr/>
        </p:nvSpPr>
        <p:spPr bwMode="auto">
          <a:xfrm>
            <a:off x="3101920" y="3478531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7" name="Freeform 6">
            <a:extLst>
              <a:ext uri="{FF2B5EF4-FFF2-40B4-BE49-F238E27FC236}">
                <a16:creationId xmlns:a16="http://schemas.microsoft.com/office/drawing/2014/main" id="{44C27FC3-3434-4429-9D07-81CF26115FE7}"/>
              </a:ext>
            </a:extLst>
          </p:cNvPr>
          <p:cNvSpPr>
            <a:spLocks noEditPoints="1"/>
          </p:cNvSpPr>
          <p:nvPr/>
        </p:nvSpPr>
        <p:spPr bwMode="auto">
          <a:xfrm>
            <a:off x="3059887" y="3582169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25B094C6-5D1B-4FDE-B885-B3F8D21E3092}"/>
              </a:ext>
            </a:extLst>
          </p:cNvPr>
          <p:cNvSpPr>
            <a:spLocks noEditPoints="1"/>
          </p:cNvSpPr>
          <p:nvPr/>
        </p:nvSpPr>
        <p:spPr bwMode="auto">
          <a:xfrm>
            <a:off x="3101920" y="3154868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0" name="Freeform 6">
            <a:extLst>
              <a:ext uri="{FF2B5EF4-FFF2-40B4-BE49-F238E27FC236}">
                <a16:creationId xmlns:a16="http://schemas.microsoft.com/office/drawing/2014/main" id="{49323D03-E89A-4ADB-8D0A-0F00F82B130A}"/>
              </a:ext>
            </a:extLst>
          </p:cNvPr>
          <p:cNvSpPr>
            <a:spLocks noEditPoints="1"/>
          </p:cNvSpPr>
          <p:nvPr/>
        </p:nvSpPr>
        <p:spPr bwMode="auto">
          <a:xfrm>
            <a:off x="3059887" y="3258505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2" name="Freeform 5">
            <a:extLst>
              <a:ext uri="{FF2B5EF4-FFF2-40B4-BE49-F238E27FC236}">
                <a16:creationId xmlns:a16="http://schemas.microsoft.com/office/drawing/2014/main" id="{0CEC53DF-698A-4A10-9073-B981ADA8D1A7}"/>
              </a:ext>
            </a:extLst>
          </p:cNvPr>
          <p:cNvSpPr>
            <a:spLocks noEditPoints="1"/>
          </p:cNvSpPr>
          <p:nvPr/>
        </p:nvSpPr>
        <p:spPr bwMode="auto">
          <a:xfrm>
            <a:off x="3101920" y="2854122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3" name="Freeform 6">
            <a:extLst>
              <a:ext uri="{FF2B5EF4-FFF2-40B4-BE49-F238E27FC236}">
                <a16:creationId xmlns:a16="http://schemas.microsoft.com/office/drawing/2014/main" id="{D64DDA6F-D482-4460-B1FB-F14260B8CA41}"/>
              </a:ext>
            </a:extLst>
          </p:cNvPr>
          <p:cNvSpPr>
            <a:spLocks noEditPoints="1"/>
          </p:cNvSpPr>
          <p:nvPr/>
        </p:nvSpPr>
        <p:spPr bwMode="auto">
          <a:xfrm>
            <a:off x="3059887" y="2957757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5" name="Freeform 5">
            <a:extLst>
              <a:ext uri="{FF2B5EF4-FFF2-40B4-BE49-F238E27FC236}">
                <a16:creationId xmlns:a16="http://schemas.microsoft.com/office/drawing/2014/main" id="{232324D3-7CDF-4B84-BA57-AB6461E57C5B}"/>
              </a:ext>
            </a:extLst>
          </p:cNvPr>
          <p:cNvSpPr>
            <a:spLocks noEditPoints="1"/>
          </p:cNvSpPr>
          <p:nvPr/>
        </p:nvSpPr>
        <p:spPr bwMode="auto">
          <a:xfrm>
            <a:off x="3101920" y="2502676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6" name="Freeform 6">
            <a:extLst>
              <a:ext uri="{FF2B5EF4-FFF2-40B4-BE49-F238E27FC236}">
                <a16:creationId xmlns:a16="http://schemas.microsoft.com/office/drawing/2014/main" id="{D2DB76F4-0841-47C9-9529-AC83B64AA8C7}"/>
              </a:ext>
            </a:extLst>
          </p:cNvPr>
          <p:cNvSpPr>
            <a:spLocks noEditPoints="1"/>
          </p:cNvSpPr>
          <p:nvPr/>
        </p:nvSpPr>
        <p:spPr bwMode="auto">
          <a:xfrm>
            <a:off x="3059887" y="2606311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8" name="Freeform 5">
            <a:extLst>
              <a:ext uri="{FF2B5EF4-FFF2-40B4-BE49-F238E27FC236}">
                <a16:creationId xmlns:a16="http://schemas.microsoft.com/office/drawing/2014/main" id="{8D54A0B5-AFA5-475D-BD13-3E95EC3E8928}"/>
              </a:ext>
            </a:extLst>
          </p:cNvPr>
          <p:cNvSpPr>
            <a:spLocks noEditPoints="1"/>
          </p:cNvSpPr>
          <p:nvPr/>
        </p:nvSpPr>
        <p:spPr bwMode="auto">
          <a:xfrm>
            <a:off x="3101920" y="2214664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9" name="Freeform 6">
            <a:extLst>
              <a:ext uri="{FF2B5EF4-FFF2-40B4-BE49-F238E27FC236}">
                <a16:creationId xmlns:a16="http://schemas.microsoft.com/office/drawing/2014/main" id="{BAEE9463-B520-494A-9F25-4083B128C352}"/>
              </a:ext>
            </a:extLst>
          </p:cNvPr>
          <p:cNvSpPr>
            <a:spLocks noEditPoints="1"/>
          </p:cNvSpPr>
          <p:nvPr/>
        </p:nvSpPr>
        <p:spPr bwMode="auto">
          <a:xfrm>
            <a:off x="3059887" y="2318302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6B5AED5B-5EFD-45F5-9ABE-41A1088133F3}"/>
              </a:ext>
            </a:extLst>
          </p:cNvPr>
          <p:cNvSpPr txBox="1">
            <a:spLocks/>
          </p:cNvSpPr>
          <p:nvPr/>
        </p:nvSpPr>
        <p:spPr>
          <a:xfrm rot="5400000">
            <a:off x="2564639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sp>
        <p:nvSpPr>
          <p:cNvPr id="102" name="Freeform 5">
            <a:extLst>
              <a:ext uri="{FF2B5EF4-FFF2-40B4-BE49-F238E27FC236}">
                <a16:creationId xmlns:a16="http://schemas.microsoft.com/office/drawing/2014/main" id="{062A9238-4B52-4E62-A6FB-851B426DE1E6}"/>
              </a:ext>
            </a:extLst>
          </p:cNvPr>
          <p:cNvSpPr>
            <a:spLocks noEditPoints="1"/>
          </p:cNvSpPr>
          <p:nvPr/>
        </p:nvSpPr>
        <p:spPr bwMode="auto">
          <a:xfrm>
            <a:off x="3518581" y="3478531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3" name="Freeform 6">
            <a:extLst>
              <a:ext uri="{FF2B5EF4-FFF2-40B4-BE49-F238E27FC236}">
                <a16:creationId xmlns:a16="http://schemas.microsoft.com/office/drawing/2014/main" id="{1B3E836D-C3DB-43E7-BC85-1B681A7C36F8}"/>
              </a:ext>
            </a:extLst>
          </p:cNvPr>
          <p:cNvSpPr>
            <a:spLocks noEditPoints="1"/>
          </p:cNvSpPr>
          <p:nvPr/>
        </p:nvSpPr>
        <p:spPr bwMode="auto">
          <a:xfrm>
            <a:off x="3476547" y="3582169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5" name="Freeform 5">
            <a:extLst>
              <a:ext uri="{FF2B5EF4-FFF2-40B4-BE49-F238E27FC236}">
                <a16:creationId xmlns:a16="http://schemas.microsoft.com/office/drawing/2014/main" id="{17A3B3DB-6F06-46D4-91E9-6E4B0B37DC69}"/>
              </a:ext>
            </a:extLst>
          </p:cNvPr>
          <p:cNvSpPr>
            <a:spLocks noEditPoints="1"/>
          </p:cNvSpPr>
          <p:nvPr/>
        </p:nvSpPr>
        <p:spPr bwMode="auto">
          <a:xfrm>
            <a:off x="3518581" y="3154868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6" name="Freeform 6">
            <a:extLst>
              <a:ext uri="{FF2B5EF4-FFF2-40B4-BE49-F238E27FC236}">
                <a16:creationId xmlns:a16="http://schemas.microsoft.com/office/drawing/2014/main" id="{B973BDAA-9124-4EEF-B79D-0CD448DA594D}"/>
              </a:ext>
            </a:extLst>
          </p:cNvPr>
          <p:cNvSpPr>
            <a:spLocks noEditPoints="1"/>
          </p:cNvSpPr>
          <p:nvPr/>
        </p:nvSpPr>
        <p:spPr bwMode="auto">
          <a:xfrm>
            <a:off x="3476547" y="3258505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8" name="Freeform 5">
            <a:extLst>
              <a:ext uri="{FF2B5EF4-FFF2-40B4-BE49-F238E27FC236}">
                <a16:creationId xmlns:a16="http://schemas.microsoft.com/office/drawing/2014/main" id="{A839D451-AAAE-4E6B-BFCB-FA0018DC689A}"/>
              </a:ext>
            </a:extLst>
          </p:cNvPr>
          <p:cNvSpPr>
            <a:spLocks noEditPoints="1"/>
          </p:cNvSpPr>
          <p:nvPr/>
        </p:nvSpPr>
        <p:spPr bwMode="auto">
          <a:xfrm>
            <a:off x="3518581" y="2854122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9" name="Freeform 6">
            <a:extLst>
              <a:ext uri="{FF2B5EF4-FFF2-40B4-BE49-F238E27FC236}">
                <a16:creationId xmlns:a16="http://schemas.microsoft.com/office/drawing/2014/main" id="{62723A6C-90FB-4CDF-8E4E-564C672C0976}"/>
              </a:ext>
            </a:extLst>
          </p:cNvPr>
          <p:cNvSpPr>
            <a:spLocks noEditPoints="1"/>
          </p:cNvSpPr>
          <p:nvPr/>
        </p:nvSpPr>
        <p:spPr bwMode="auto">
          <a:xfrm>
            <a:off x="3476547" y="2957757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1" name="Freeform 5">
            <a:extLst>
              <a:ext uri="{FF2B5EF4-FFF2-40B4-BE49-F238E27FC236}">
                <a16:creationId xmlns:a16="http://schemas.microsoft.com/office/drawing/2014/main" id="{89547922-A18F-4618-817C-F8CDBF89DCA5}"/>
              </a:ext>
            </a:extLst>
          </p:cNvPr>
          <p:cNvSpPr>
            <a:spLocks noEditPoints="1"/>
          </p:cNvSpPr>
          <p:nvPr/>
        </p:nvSpPr>
        <p:spPr bwMode="auto">
          <a:xfrm>
            <a:off x="3518581" y="2502676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2" name="Freeform 6">
            <a:extLst>
              <a:ext uri="{FF2B5EF4-FFF2-40B4-BE49-F238E27FC236}">
                <a16:creationId xmlns:a16="http://schemas.microsoft.com/office/drawing/2014/main" id="{A8B85063-AD89-4001-904B-17394401DE60}"/>
              </a:ext>
            </a:extLst>
          </p:cNvPr>
          <p:cNvSpPr>
            <a:spLocks noEditPoints="1"/>
          </p:cNvSpPr>
          <p:nvPr/>
        </p:nvSpPr>
        <p:spPr bwMode="auto">
          <a:xfrm>
            <a:off x="3476547" y="2606311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5" name="Freeform 5">
            <a:extLst>
              <a:ext uri="{FF2B5EF4-FFF2-40B4-BE49-F238E27FC236}">
                <a16:creationId xmlns:a16="http://schemas.microsoft.com/office/drawing/2014/main" id="{B1B67DF3-74BE-4983-82B8-D61C247E7249}"/>
              </a:ext>
            </a:extLst>
          </p:cNvPr>
          <p:cNvSpPr>
            <a:spLocks noEditPoints="1"/>
          </p:cNvSpPr>
          <p:nvPr/>
        </p:nvSpPr>
        <p:spPr bwMode="auto">
          <a:xfrm>
            <a:off x="3518581" y="2214664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6" name="Freeform 6">
            <a:extLst>
              <a:ext uri="{FF2B5EF4-FFF2-40B4-BE49-F238E27FC236}">
                <a16:creationId xmlns:a16="http://schemas.microsoft.com/office/drawing/2014/main" id="{68128381-EBF8-433A-9D91-C9831D445799}"/>
              </a:ext>
            </a:extLst>
          </p:cNvPr>
          <p:cNvSpPr>
            <a:spLocks noEditPoints="1"/>
          </p:cNvSpPr>
          <p:nvPr/>
        </p:nvSpPr>
        <p:spPr bwMode="auto">
          <a:xfrm>
            <a:off x="3476547" y="2318302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47B7BB42-1E4D-462D-A209-6D4D4D3441B1}"/>
              </a:ext>
            </a:extLst>
          </p:cNvPr>
          <p:cNvSpPr txBox="1">
            <a:spLocks/>
          </p:cNvSpPr>
          <p:nvPr/>
        </p:nvSpPr>
        <p:spPr>
          <a:xfrm rot="5400000">
            <a:off x="3186490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sp>
        <p:nvSpPr>
          <p:cNvPr id="119" name="Freeform 5">
            <a:extLst>
              <a:ext uri="{FF2B5EF4-FFF2-40B4-BE49-F238E27FC236}">
                <a16:creationId xmlns:a16="http://schemas.microsoft.com/office/drawing/2014/main" id="{C8BBD350-1D05-4D44-8A2F-36AE45A15997}"/>
              </a:ext>
            </a:extLst>
          </p:cNvPr>
          <p:cNvSpPr>
            <a:spLocks noEditPoints="1"/>
          </p:cNvSpPr>
          <p:nvPr/>
        </p:nvSpPr>
        <p:spPr bwMode="auto">
          <a:xfrm>
            <a:off x="4140433" y="3478531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0" name="Freeform 6">
            <a:extLst>
              <a:ext uri="{FF2B5EF4-FFF2-40B4-BE49-F238E27FC236}">
                <a16:creationId xmlns:a16="http://schemas.microsoft.com/office/drawing/2014/main" id="{75227EFB-DA17-4818-BE0C-9D4507664508}"/>
              </a:ext>
            </a:extLst>
          </p:cNvPr>
          <p:cNvSpPr>
            <a:spLocks noEditPoints="1"/>
          </p:cNvSpPr>
          <p:nvPr/>
        </p:nvSpPr>
        <p:spPr bwMode="auto">
          <a:xfrm>
            <a:off x="4098400" y="3582169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2" name="Freeform 5">
            <a:extLst>
              <a:ext uri="{FF2B5EF4-FFF2-40B4-BE49-F238E27FC236}">
                <a16:creationId xmlns:a16="http://schemas.microsoft.com/office/drawing/2014/main" id="{EE295C1E-06E1-49AF-9B5F-B66D0C6DE44A}"/>
              </a:ext>
            </a:extLst>
          </p:cNvPr>
          <p:cNvSpPr>
            <a:spLocks noEditPoints="1"/>
          </p:cNvSpPr>
          <p:nvPr/>
        </p:nvSpPr>
        <p:spPr bwMode="auto">
          <a:xfrm>
            <a:off x="4140433" y="3154868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3" name="Freeform 6">
            <a:extLst>
              <a:ext uri="{FF2B5EF4-FFF2-40B4-BE49-F238E27FC236}">
                <a16:creationId xmlns:a16="http://schemas.microsoft.com/office/drawing/2014/main" id="{1634D110-4978-4DFC-8958-D78306A23234}"/>
              </a:ext>
            </a:extLst>
          </p:cNvPr>
          <p:cNvSpPr>
            <a:spLocks noEditPoints="1"/>
          </p:cNvSpPr>
          <p:nvPr/>
        </p:nvSpPr>
        <p:spPr bwMode="auto">
          <a:xfrm>
            <a:off x="4098400" y="3258505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5" name="Freeform 5">
            <a:extLst>
              <a:ext uri="{FF2B5EF4-FFF2-40B4-BE49-F238E27FC236}">
                <a16:creationId xmlns:a16="http://schemas.microsoft.com/office/drawing/2014/main" id="{CE65D3AD-C45C-4F4F-90C7-2B9209820D04}"/>
              </a:ext>
            </a:extLst>
          </p:cNvPr>
          <p:cNvSpPr>
            <a:spLocks noEditPoints="1"/>
          </p:cNvSpPr>
          <p:nvPr/>
        </p:nvSpPr>
        <p:spPr bwMode="auto">
          <a:xfrm>
            <a:off x="4140433" y="2854122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6" name="Freeform 6">
            <a:extLst>
              <a:ext uri="{FF2B5EF4-FFF2-40B4-BE49-F238E27FC236}">
                <a16:creationId xmlns:a16="http://schemas.microsoft.com/office/drawing/2014/main" id="{D1F3AD94-B7E4-46B9-9085-83CFD04FC7CB}"/>
              </a:ext>
            </a:extLst>
          </p:cNvPr>
          <p:cNvSpPr>
            <a:spLocks noEditPoints="1"/>
          </p:cNvSpPr>
          <p:nvPr/>
        </p:nvSpPr>
        <p:spPr bwMode="auto">
          <a:xfrm>
            <a:off x="4098400" y="2957757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9" name="Freeform 5">
            <a:extLst>
              <a:ext uri="{FF2B5EF4-FFF2-40B4-BE49-F238E27FC236}">
                <a16:creationId xmlns:a16="http://schemas.microsoft.com/office/drawing/2014/main" id="{2834F207-0F7E-4EE8-9819-8A1B48C2E329}"/>
              </a:ext>
            </a:extLst>
          </p:cNvPr>
          <p:cNvSpPr>
            <a:spLocks noEditPoints="1"/>
          </p:cNvSpPr>
          <p:nvPr/>
        </p:nvSpPr>
        <p:spPr bwMode="auto">
          <a:xfrm>
            <a:off x="4140433" y="2502676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0" name="Freeform 6">
            <a:extLst>
              <a:ext uri="{FF2B5EF4-FFF2-40B4-BE49-F238E27FC236}">
                <a16:creationId xmlns:a16="http://schemas.microsoft.com/office/drawing/2014/main" id="{B8A2CFBC-EABE-4122-99F2-8CC0BA2DA155}"/>
              </a:ext>
            </a:extLst>
          </p:cNvPr>
          <p:cNvSpPr>
            <a:spLocks noEditPoints="1"/>
          </p:cNvSpPr>
          <p:nvPr/>
        </p:nvSpPr>
        <p:spPr bwMode="auto">
          <a:xfrm>
            <a:off x="4098400" y="2606311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2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2" name="Freeform 5">
            <a:extLst>
              <a:ext uri="{FF2B5EF4-FFF2-40B4-BE49-F238E27FC236}">
                <a16:creationId xmlns:a16="http://schemas.microsoft.com/office/drawing/2014/main" id="{B2DA8B58-A0BB-4432-85D6-DC26D22E9D5F}"/>
              </a:ext>
            </a:extLst>
          </p:cNvPr>
          <p:cNvSpPr>
            <a:spLocks noEditPoints="1"/>
          </p:cNvSpPr>
          <p:nvPr/>
        </p:nvSpPr>
        <p:spPr bwMode="auto">
          <a:xfrm>
            <a:off x="4140433" y="2214664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3" name="Freeform 6">
            <a:extLst>
              <a:ext uri="{FF2B5EF4-FFF2-40B4-BE49-F238E27FC236}">
                <a16:creationId xmlns:a16="http://schemas.microsoft.com/office/drawing/2014/main" id="{B996CAE8-764C-4A8F-8C9D-220444AB04D4}"/>
              </a:ext>
            </a:extLst>
          </p:cNvPr>
          <p:cNvSpPr>
            <a:spLocks noEditPoints="1"/>
          </p:cNvSpPr>
          <p:nvPr/>
        </p:nvSpPr>
        <p:spPr bwMode="auto">
          <a:xfrm>
            <a:off x="4098400" y="2318302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0F8F2212-270E-4A34-834A-213A4A9ED1A2}"/>
              </a:ext>
            </a:extLst>
          </p:cNvPr>
          <p:cNvSpPr txBox="1">
            <a:spLocks/>
          </p:cNvSpPr>
          <p:nvPr/>
        </p:nvSpPr>
        <p:spPr>
          <a:xfrm rot="5400000">
            <a:off x="3603150" y="2906479"/>
            <a:ext cx="2016427" cy="348556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307" b="1" dirty="0">
              <a:solidFill>
                <a:schemeClr val="tx2"/>
              </a:solidFill>
            </a:endParaRPr>
          </a:p>
        </p:txBody>
      </p:sp>
      <p:sp>
        <p:nvSpPr>
          <p:cNvPr id="136" name="Freeform 5">
            <a:extLst>
              <a:ext uri="{FF2B5EF4-FFF2-40B4-BE49-F238E27FC236}">
                <a16:creationId xmlns:a16="http://schemas.microsoft.com/office/drawing/2014/main" id="{BA7AA658-CED9-43C1-A3C7-C96D8F945B62}"/>
              </a:ext>
            </a:extLst>
          </p:cNvPr>
          <p:cNvSpPr>
            <a:spLocks noEditPoints="1"/>
          </p:cNvSpPr>
          <p:nvPr/>
        </p:nvSpPr>
        <p:spPr bwMode="auto">
          <a:xfrm>
            <a:off x="4557092" y="3478531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7" name="Freeform 6">
            <a:extLst>
              <a:ext uri="{FF2B5EF4-FFF2-40B4-BE49-F238E27FC236}">
                <a16:creationId xmlns:a16="http://schemas.microsoft.com/office/drawing/2014/main" id="{2614410D-3278-4AF1-990A-FF5DC67DFF66}"/>
              </a:ext>
            </a:extLst>
          </p:cNvPr>
          <p:cNvSpPr>
            <a:spLocks noEditPoints="1"/>
          </p:cNvSpPr>
          <p:nvPr/>
        </p:nvSpPr>
        <p:spPr bwMode="auto">
          <a:xfrm>
            <a:off x="4515061" y="3582169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39" name="Freeform 5">
            <a:extLst>
              <a:ext uri="{FF2B5EF4-FFF2-40B4-BE49-F238E27FC236}">
                <a16:creationId xmlns:a16="http://schemas.microsoft.com/office/drawing/2014/main" id="{C29A316B-E0D7-4B00-B3E6-776074A1D7D3}"/>
              </a:ext>
            </a:extLst>
          </p:cNvPr>
          <p:cNvSpPr>
            <a:spLocks noEditPoints="1"/>
          </p:cNvSpPr>
          <p:nvPr/>
        </p:nvSpPr>
        <p:spPr bwMode="auto">
          <a:xfrm>
            <a:off x="4557092" y="3154868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0" name="Freeform 6">
            <a:extLst>
              <a:ext uri="{FF2B5EF4-FFF2-40B4-BE49-F238E27FC236}">
                <a16:creationId xmlns:a16="http://schemas.microsoft.com/office/drawing/2014/main" id="{2D55BFA4-A8C0-4524-8983-3A497942CBA9}"/>
              </a:ext>
            </a:extLst>
          </p:cNvPr>
          <p:cNvSpPr>
            <a:spLocks noEditPoints="1"/>
          </p:cNvSpPr>
          <p:nvPr/>
        </p:nvSpPr>
        <p:spPr bwMode="auto">
          <a:xfrm>
            <a:off x="4515061" y="3258505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2" name="Freeform 5">
            <a:extLst>
              <a:ext uri="{FF2B5EF4-FFF2-40B4-BE49-F238E27FC236}">
                <a16:creationId xmlns:a16="http://schemas.microsoft.com/office/drawing/2014/main" id="{0F90E8AF-EDDE-4711-BC2D-841D751FF17F}"/>
              </a:ext>
            </a:extLst>
          </p:cNvPr>
          <p:cNvSpPr>
            <a:spLocks noEditPoints="1"/>
          </p:cNvSpPr>
          <p:nvPr/>
        </p:nvSpPr>
        <p:spPr bwMode="auto">
          <a:xfrm>
            <a:off x="4557092" y="2854122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3" name="Freeform 6">
            <a:extLst>
              <a:ext uri="{FF2B5EF4-FFF2-40B4-BE49-F238E27FC236}">
                <a16:creationId xmlns:a16="http://schemas.microsoft.com/office/drawing/2014/main" id="{B572A3BB-D11D-4360-B193-11100BB7002A}"/>
              </a:ext>
            </a:extLst>
          </p:cNvPr>
          <p:cNvSpPr>
            <a:spLocks noEditPoints="1"/>
          </p:cNvSpPr>
          <p:nvPr/>
        </p:nvSpPr>
        <p:spPr bwMode="auto">
          <a:xfrm>
            <a:off x="4515061" y="2957757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5" name="Freeform 5">
            <a:extLst>
              <a:ext uri="{FF2B5EF4-FFF2-40B4-BE49-F238E27FC236}">
                <a16:creationId xmlns:a16="http://schemas.microsoft.com/office/drawing/2014/main" id="{F732DEBC-D156-4C86-902A-13CD7119360C}"/>
              </a:ext>
            </a:extLst>
          </p:cNvPr>
          <p:cNvSpPr>
            <a:spLocks noEditPoints="1"/>
          </p:cNvSpPr>
          <p:nvPr/>
        </p:nvSpPr>
        <p:spPr bwMode="auto">
          <a:xfrm>
            <a:off x="4557092" y="2502676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6" name="Freeform 6">
            <a:extLst>
              <a:ext uri="{FF2B5EF4-FFF2-40B4-BE49-F238E27FC236}">
                <a16:creationId xmlns:a16="http://schemas.microsoft.com/office/drawing/2014/main" id="{BF0A8849-C7C1-4B42-AB3C-2F412C596700}"/>
              </a:ext>
            </a:extLst>
          </p:cNvPr>
          <p:cNvSpPr>
            <a:spLocks noEditPoints="1"/>
          </p:cNvSpPr>
          <p:nvPr/>
        </p:nvSpPr>
        <p:spPr bwMode="auto">
          <a:xfrm>
            <a:off x="4515061" y="2606311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8" name="Freeform 5">
            <a:extLst>
              <a:ext uri="{FF2B5EF4-FFF2-40B4-BE49-F238E27FC236}">
                <a16:creationId xmlns:a16="http://schemas.microsoft.com/office/drawing/2014/main" id="{65F78BA5-1BE0-4F8F-AC92-600C21A717BB}"/>
              </a:ext>
            </a:extLst>
          </p:cNvPr>
          <p:cNvSpPr>
            <a:spLocks noEditPoints="1"/>
          </p:cNvSpPr>
          <p:nvPr/>
        </p:nvSpPr>
        <p:spPr bwMode="auto">
          <a:xfrm>
            <a:off x="4557092" y="2214664"/>
            <a:ext cx="112480" cy="105815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9" name="Freeform 6">
            <a:extLst>
              <a:ext uri="{FF2B5EF4-FFF2-40B4-BE49-F238E27FC236}">
                <a16:creationId xmlns:a16="http://schemas.microsoft.com/office/drawing/2014/main" id="{97BCF67E-D03D-401B-80EC-7467F70C074A}"/>
              </a:ext>
            </a:extLst>
          </p:cNvPr>
          <p:cNvSpPr>
            <a:spLocks noEditPoints="1"/>
          </p:cNvSpPr>
          <p:nvPr/>
        </p:nvSpPr>
        <p:spPr bwMode="auto">
          <a:xfrm>
            <a:off x="4515061" y="2318302"/>
            <a:ext cx="196546" cy="56264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7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4423A69D-115D-45A6-8710-EE660B87D76E}"/>
              </a:ext>
            </a:extLst>
          </p:cNvPr>
          <p:cNvSpPr txBox="1">
            <a:spLocks/>
          </p:cNvSpPr>
          <p:nvPr/>
        </p:nvSpPr>
        <p:spPr>
          <a:xfrm>
            <a:off x="7093335" y="1593186"/>
            <a:ext cx="3900171" cy="249578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307" dirty="0"/>
              <a:t> 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2C01C672-7C57-42AB-81F7-843283BF9FF6}"/>
              </a:ext>
            </a:extLst>
          </p:cNvPr>
          <p:cNvSpPr txBox="1"/>
          <p:nvPr/>
        </p:nvSpPr>
        <p:spPr>
          <a:xfrm>
            <a:off x="9040614" y="3813379"/>
            <a:ext cx="1952890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307" b="1" dirty="0">
                <a:solidFill>
                  <a:schemeClr val="bg1"/>
                </a:solidFill>
              </a:rPr>
              <a:t>ENABLING TEAMS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4C878A3-51C1-409A-9B61-2DF39834ECD6}"/>
              </a:ext>
            </a:extLst>
          </p:cNvPr>
          <p:cNvSpPr txBox="1"/>
          <p:nvPr/>
        </p:nvSpPr>
        <p:spPr>
          <a:xfrm>
            <a:off x="5867863" y="3773458"/>
            <a:ext cx="1057803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218D9FB-1221-4E76-A781-F83804BC056C}"/>
              </a:ext>
            </a:extLst>
          </p:cNvPr>
          <p:cNvSpPr txBox="1"/>
          <p:nvPr/>
        </p:nvSpPr>
        <p:spPr>
          <a:xfrm>
            <a:off x="4781676" y="2177582"/>
            <a:ext cx="2143993" cy="205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307" dirty="0"/>
              <a:t>Customer engagement</a:t>
            </a:r>
          </a:p>
        </p:txBody>
      </p: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AD23B931-BEBC-46B3-B7BF-875D3ABB6A3F}"/>
              </a:ext>
            </a:extLst>
          </p:cNvPr>
          <p:cNvCxnSpPr>
            <a:cxnSpLocks/>
            <a:stCxn id="26" idx="2"/>
            <a:endCxn id="23" idx="1"/>
          </p:cNvCxnSpPr>
          <p:nvPr/>
        </p:nvCxnSpPr>
        <p:spPr>
          <a:xfrm rot="16200000" flipH="1">
            <a:off x="4243854" y="-1520605"/>
            <a:ext cx="77448" cy="5631955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27E824B3-82AC-4518-8EBE-0AB51724B565}"/>
              </a:ext>
            </a:extLst>
          </p:cNvPr>
          <p:cNvSpPr txBox="1">
            <a:spLocks/>
          </p:cNvSpPr>
          <p:nvPr/>
        </p:nvSpPr>
        <p:spPr>
          <a:xfrm>
            <a:off x="7357242" y="1954316"/>
            <a:ext cx="1797553" cy="55940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8099" tIns="38099" rIns="38099" bIns="3809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100" baseline="0">
                <a:solidFill>
                  <a:schemeClr val="bg1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Product management hub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275144E-3322-4102-8A20-51C28CD6BB52}"/>
              </a:ext>
            </a:extLst>
          </p:cNvPr>
          <p:cNvSpPr txBox="1">
            <a:spLocks/>
          </p:cNvSpPr>
          <p:nvPr/>
        </p:nvSpPr>
        <p:spPr>
          <a:xfrm>
            <a:off x="7262137" y="2034841"/>
            <a:ext cx="1797553" cy="55940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8099" tIns="38099" rIns="38099" bIns="3809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100" baseline="0">
                <a:solidFill>
                  <a:schemeClr val="bg1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Product management hub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E679DBF-E6BA-4D0A-AD1B-23036B69AAC9}"/>
              </a:ext>
            </a:extLst>
          </p:cNvPr>
          <p:cNvSpPr txBox="1">
            <a:spLocks/>
          </p:cNvSpPr>
          <p:nvPr/>
        </p:nvSpPr>
        <p:spPr>
          <a:xfrm>
            <a:off x="7180346" y="2129162"/>
            <a:ext cx="1797553" cy="55940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38099" tIns="38099" rIns="38099" bIns="3809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lt1"/>
              </a:buClr>
              <a:buSzPct val="100000"/>
              <a:defRPr sz="1100" baseline="0">
                <a:solidFill>
                  <a:schemeClr val="bg1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307" dirty="0"/>
              <a:t>Hub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7A8138FE-493F-418B-9FC4-59F2B3C17C9D}"/>
              </a:ext>
            </a:extLst>
          </p:cNvPr>
          <p:cNvSpPr txBox="1"/>
          <p:nvPr/>
        </p:nvSpPr>
        <p:spPr>
          <a:xfrm>
            <a:off x="7175728" y="2774086"/>
            <a:ext cx="3067646" cy="1005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307" dirty="0">
                <a:solidFill>
                  <a:schemeClr val="bg1"/>
                </a:solidFill>
              </a:rPr>
              <a:t>Product management</a:t>
            </a:r>
          </a:p>
          <a:p>
            <a:pPr lvl="1">
              <a:buClr>
                <a:schemeClr val="bg1"/>
              </a:buClr>
            </a:pPr>
            <a:r>
              <a:rPr lang="en-US" sz="1307" dirty="0">
                <a:solidFill>
                  <a:schemeClr val="bg1"/>
                </a:solidFill>
              </a:rPr>
              <a:t>Brand and comms</a:t>
            </a:r>
          </a:p>
          <a:p>
            <a:pPr lvl="1">
              <a:buClr>
                <a:schemeClr val="bg1"/>
              </a:buClr>
            </a:pPr>
            <a:r>
              <a:rPr lang="en-US" sz="1307" dirty="0">
                <a:solidFill>
                  <a:schemeClr val="bg1"/>
                </a:solidFill>
              </a:rPr>
              <a:t>Content</a:t>
            </a:r>
          </a:p>
          <a:p>
            <a:pPr lvl="1">
              <a:buClr>
                <a:schemeClr val="bg1"/>
              </a:buClr>
            </a:pPr>
            <a:r>
              <a:rPr lang="en-US" sz="1307" dirty="0">
                <a:solidFill>
                  <a:schemeClr val="bg1"/>
                </a:solidFill>
              </a:rPr>
              <a:t>Data &amp; Analytics</a:t>
            </a:r>
          </a:p>
          <a:p>
            <a:pPr lvl="1">
              <a:buClr>
                <a:schemeClr val="bg1"/>
              </a:buClr>
            </a:pPr>
            <a:r>
              <a:rPr lang="en-US" sz="1307" dirty="0">
                <a:solidFill>
                  <a:schemeClr val="bg1"/>
                </a:solidFill>
              </a:rPr>
              <a:t>Pricing and revenue manag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0C6BF88-9DD3-4D05-9863-685BF4E7A64D}"/>
              </a:ext>
            </a:extLst>
          </p:cNvPr>
          <p:cNvSpPr/>
          <p:nvPr/>
        </p:nvSpPr>
        <p:spPr>
          <a:xfrm>
            <a:off x="7098556" y="1247082"/>
            <a:ext cx="380454" cy="174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91" dirty="0">
              <a:solidFill>
                <a:schemeClr val="tx1"/>
              </a:solidFill>
            </a:endParaRPr>
          </a:p>
        </p:txBody>
      </p: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E5A8CE55-CA4B-4E1B-93ED-1B7FB614A4B4}"/>
              </a:ext>
            </a:extLst>
          </p:cNvPr>
          <p:cNvCxnSpPr>
            <a:cxnSpLocks/>
            <a:stCxn id="23" idx="3"/>
            <a:endCxn id="50" idx="0"/>
          </p:cNvCxnSpPr>
          <p:nvPr/>
        </p:nvCxnSpPr>
        <p:spPr>
          <a:xfrm>
            <a:off x="7479009" y="1334098"/>
            <a:ext cx="600113" cy="795065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id="{FFA1ECF0-86DA-418E-931D-8651F6794DA5}"/>
              </a:ext>
            </a:extLst>
          </p:cNvPr>
          <p:cNvCxnSpPr>
            <a:cxnSpLocks/>
            <a:stCxn id="23" idx="1"/>
            <a:endCxn id="23" idx="3"/>
          </p:cNvCxnSpPr>
          <p:nvPr/>
        </p:nvCxnSpPr>
        <p:spPr>
          <a:xfrm>
            <a:off x="7098556" y="1334097"/>
            <a:ext cx="380454" cy="0"/>
          </a:xfrm>
          <a:prstGeom prst="straightConnector1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">
            <a:extLst>
              <a:ext uri="{FF2B5EF4-FFF2-40B4-BE49-F238E27FC236}">
                <a16:creationId xmlns:a16="http://schemas.microsoft.com/office/drawing/2014/main" id="{B1707F38-B731-4E43-98BF-180BEE1FD3E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948410" y="1419936"/>
            <a:ext cx="1108786" cy="579467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</p:spPr>
        <p:txBody>
          <a:bodyPr vert="horz" lIns="99576" tIns="99576" rIns="99576" bIns="99576" rtlCol="0" anchor="t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US" sz="1307" dirty="0"/>
              <a:t>…</a:t>
            </a:r>
          </a:p>
        </p:txBody>
      </p:sp>
      <p:sp>
        <p:nvSpPr>
          <p:cNvPr id="3" name="Rectangle">
            <a:extLst>
              <a:ext uri="{FF2B5EF4-FFF2-40B4-BE49-F238E27FC236}">
                <a16:creationId xmlns:a16="http://schemas.microsoft.com/office/drawing/2014/main" id="{803FE978-D91A-40E9-9CD4-4A56503CCCA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797094" y="1419936"/>
            <a:ext cx="1108786" cy="579467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</p:spPr>
        <p:txBody>
          <a:bodyPr vert="horz" lIns="99576" tIns="99576" rIns="99576" bIns="99576" rtlCol="0" anchor="t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US" sz="1307" dirty="0"/>
              <a:t>Customer group 21</a:t>
            </a: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8309173C-C975-4C09-BE10-2744BC5C88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45778" y="1419936"/>
            <a:ext cx="1108786" cy="579467"/>
          </a:xfrm>
          <a:prstGeom prst="rect">
            <a:avLst/>
          </a:prstGeom>
          <a:solidFill>
            <a:schemeClr val="accent1"/>
          </a:solidFill>
          <a:ln>
            <a:solidFill>
              <a:srgbClr val="FFFFFF"/>
            </a:solidFill>
          </a:ln>
        </p:spPr>
        <p:txBody>
          <a:bodyPr vert="horz" lIns="99576" tIns="99576" rIns="99576" bIns="99576" rtlCol="0" anchor="t" anchorCtr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US" sz="1307" dirty="0"/>
              <a:t>Customer group 11</a:t>
            </a:r>
          </a:p>
        </p:txBody>
      </p:sp>
    </p:spTree>
    <p:extLst>
      <p:ext uri="{BB962C8B-B14F-4D97-AF65-F5344CB8AC3E}">
        <p14:creationId xmlns:p14="http://schemas.microsoft.com/office/powerpoint/2010/main" val="1266401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306958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7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The Future Marketing Org cell team can support you</a:t>
            </a:r>
          </a:p>
        </p:txBody>
      </p:sp>
      <p:sp>
        <p:nvSpPr>
          <p:cNvPr id="107" name="Rectangle 19">
            <a:extLst>
              <a:ext uri="{FF2B5EF4-FFF2-40B4-BE49-F238E27FC236}">
                <a16:creationId xmlns:a16="http://schemas.microsoft.com/office/drawing/2014/main" id="{2457F614-ED21-4061-A34B-C2D06208CB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88630" y="976079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2" name="Rectangle 19">
            <a:extLst>
              <a:ext uri="{FF2B5EF4-FFF2-40B4-BE49-F238E27FC236}">
                <a16:creationId xmlns:a16="http://schemas.microsoft.com/office/drawing/2014/main" id="{46FD7753-CB75-485C-AA77-0E187307948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88631" y="4728112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5" name="Rectangle 19">
            <a:extLst>
              <a:ext uri="{FF2B5EF4-FFF2-40B4-BE49-F238E27FC236}">
                <a16:creationId xmlns:a16="http://schemas.microsoft.com/office/drawing/2014/main" id="{0633D3D8-25A2-4A88-B2B2-A4BE80E7BE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88631" y="2856826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D91FC569-4734-4286-8BFD-48F7D6515579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1634" y="911909"/>
            <a:ext cx="1048934" cy="5283261"/>
          </a:xfrm>
          <a:prstGeom prst="rect">
            <a:avLst/>
          </a:prstGeom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6EBC4CC1-D9C0-4006-BD31-5B504209C6D6}"/>
              </a:ext>
            </a:extLst>
          </p:cNvPr>
          <p:cNvSpPr>
            <a:spLocks/>
          </p:cNvSpPr>
          <p:nvPr/>
        </p:nvSpPr>
        <p:spPr>
          <a:xfrm>
            <a:off x="6091634" y="911909"/>
            <a:ext cx="1048934" cy="5283261"/>
          </a:xfrm>
          <a:prstGeom prst="rect">
            <a:avLst/>
          </a:prstGeom>
          <a:solidFill>
            <a:schemeClr val="accent4">
              <a:alpha val="5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895771D8-4A04-410A-AADA-252C8CDB3308}"/>
              </a:ext>
            </a:extLst>
          </p:cNvPr>
          <p:cNvPicPr>
            <a:picLocks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4558" y="982217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28194FC4-DCA2-4C00-A0D7-51434AB541F8}"/>
              </a:ext>
            </a:extLst>
          </p:cNvPr>
          <p:cNvPicPr>
            <a:picLocks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6410" y="285604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6" name="Picture 27">
            <a:extLst>
              <a:ext uri="{FF2B5EF4-FFF2-40B4-BE49-F238E27FC236}">
                <a16:creationId xmlns:a16="http://schemas.microsoft.com/office/drawing/2014/main" id="{43D8195D-BC6F-4032-8751-9C688017A83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76410" y="4705496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>
            <a:extLst>
              <a:ext uri="{FF2B5EF4-FFF2-40B4-BE49-F238E27FC236}">
                <a16:creationId xmlns:a16="http://schemas.microsoft.com/office/drawing/2014/main" id="{DE29EB6A-D9EB-4F04-A7AD-777729A2044A}"/>
              </a:ext>
            </a:extLst>
          </p:cNvPr>
          <p:cNvSpPr>
            <a:spLocks/>
          </p:cNvSpPr>
          <p:nvPr/>
        </p:nvSpPr>
        <p:spPr>
          <a:xfrm>
            <a:off x="7230943" y="1023584"/>
            <a:ext cx="1160136" cy="215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Raphael Buck</a:t>
            </a:r>
          </a:p>
        </p:txBody>
      </p:sp>
      <p:sp>
        <p:nvSpPr>
          <p:cNvPr id="130" name="Rectangle 8">
            <a:extLst>
              <a:ext uri="{FF2B5EF4-FFF2-40B4-BE49-F238E27FC236}">
                <a16:creationId xmlns:a16="http://schemas.microsoft.com/office/drawing/2014/main" id="{AF839EC6-711C-4988-A62F-088F541E02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4809" y="1363577"/>
            <a:ext cx="1560584" cy="369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Senior Partner 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Zurich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AF2B52BA-D68A-4860-BE50-18BB987763F7}"/>
              </a:ext>
            </a:extLst>
          </p:cNvPr>
          <p:cNvSpPr>
            <a:spLocks/>
          </p:cNvSpPr>
          <p:nvPr/>
        </p:nvSpPr>
        <p:spPr>
          <a:xfrm>
            <a:off x="7225344" y="2904331"/>
            <a:ext cx="936912" cy="215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Liz Ericson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1A92D8CC-56FF-4FB5-BFDC-A3BA3E6D6DBA}"/>
              </a:ext>
            </a:extLst>
          </p:cNvPr>
          <p:cNvSpPr>
            <a:spLocks/>
          </p:cNvSpPr>
          <p:nvPr/>
        </p:nvSpPr>
        <p:spPr>
          <a:xfrm>
            <a:off x="7225344" y="4775617"/>
            <a:ext cx="1073677" cy="215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Nina Rincker</a:t>
            </a:r>
          </a:p>
        </p:txBody>
      </p:sp>
      <p:sp>
        <p:nvSpPr>
          <p:cNvPr id="163" name="Rectangle 8">
            <a:extLst>
              <a:ext uri="{FF2B5EF4-FFF2-40B4-BE49-F238E27FC236}">
                <a16:creationId xmlns:a16="http://schemas.microsoft.com/office/drawing/2014/main" id="{ABB2A279-D021-45DC-9671-83E053712E7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4691" y="3231422"/>
            <a:ext cx="1344210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Partner 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London</a:t>
            </a:r>
          </a:p>
        </p:txBody>
      </p:sp>
      <p:sp>
        <p:nvSpPr>
          <p:cNvPr id="164" name="Rectangle 8">
            <a:extLst>
              <a:ext uri="{FF2B5EF4-FFF2-40B4-BE49-F238E27FC236}">
                <a16:creationId xmlns:a16="http://schemas.microsoft.com/office/drawing/2014/main" id="{F42CB3E5-AB56-4977-B756-1454275AFD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4691" y="5095483"/>
            <a:ext cx="134421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Research Specialist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Munich</a:t>
            </a:r>
          </a:p>
        </p:txBody>
      </p:sp>
      <p:sp>
        <p:nvSpPr>
          <p:cNvPr id="114" name="Rectangle 19">
            <a:extLst>
              <a:ext uri="{FF2B5EF4-FFF2-40B4-BE49-F238E27FC236}">
                <a16:creationId xmlns:a16="http://schemas.microsoft.com/office/drawing/2014/main" id="{1E0579DE-3434-4848-819D-07447EDF21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0172" y="976079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B99E72E6-8AEF-4DCF-9755-AAFDB261ABCC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59" y="911909"/>
            <a:ext cx="1048934" cy="5283261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3B191198-0541-485E-BF18-E703B2108C8B}"/>
              </a:ext>
            </a:extLst>
          </p:cNvPr>
          <p:cNvSpPr>
            <a:spLocks/>
          </p:cNvSpPr>
          <p:nvPr/>
        </p:nvSpPr>
        <p:spPr>
          <a:xfrm>
            <a:off x="168088" y="911909"/>
            <a:ext cx="1048934" cy="5283261"/>
          </a:xfrm>
          <a:prstGeom prst="rect">
            <a:avLst/>
          </a:prstGeom>
          <a:solidFill>
            <a:schemeClr val="accent4">
              <a:alpha val="5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9" name="Rectangle 19">
            <a:extLst>
              <a:ext uri="{FF2B5EF4-FFF2-40B4-BE49-F238E27FC236}">
                <a16:creationId xmlns:a16="http://schemas.microsoft.com/office/drawing/2014/main" id="{E32C614D-DF97-41F8-9C70-7BB1C32E59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0173" y="4728112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6" name="Rectangle 19">
            <a:extLst>
              <a:ext uri="{FF2B5EF4-FFF2-40B4-BE49-F238E27FC236}">
                <a16:creationId xmlns:a16="http://schemas.microsoft.com/office/drawing/2014/main" id="{C2DFB425-4A11-4BC9-8F36-B85C547D2C7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0173" y="2856826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1C8D9877-2075-4A09-AEC9-6C448F236A40}"/>
              </a:ext>
            </a:extLst>
          </p:cNvPr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660" y="285604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DD6C3AD6-ECCF-4B95-AFE0-B48C70651876}"/>
              </a:ext>
            </a:extLst>
          </p:cNvPr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660" y="4716773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3FC3EC96-D17D-4F11-9AFD-542DAE38DA77}"/>
              </a:ext>
            </a:extLst>
          </p:cNvPr>
          <p:cNvPicPr>
            <a:picLocks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316" y="99531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EE7B70C-BE1E-4F19-BB79-6E26A6A777B7}"/>
              </a:ext>
            </a:extLst>
          </p:cNvPr>
          <p:cNvSpPr>
            <a:spLocks/>
          </p:cNvSpPr>
          <p:nvPr/>
        </p:nvSpPr>
        <p:spPr>
          <a:xfrm>
            <a:off x="1316702" y="1023584"/>
            <a:ext cx="987215" cy="215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Alex Harper</a:t>
            </a:r>
          </a:p>
        </p:txBody>
      </p:sp>
      <p:sp>
        <p:nvSpPr>
          <p:cNvPr id="100" name="Rectangle 8">
            <a:extLst>
              <a:ext uri="{FF2B5EF4-FFF2-40B4-BE49-F238E27FC236}">
                <a16:creationId xmlns:a16="http://schemas.microsoft.com/office/drawing/2014/main" id="{D20A57D6-2892-46F7-8B1C-53AB110AFF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16702" y="1363577"/>
            <a:ext cx="1450012" cy="369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Associate Partner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London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A5C0432-4826-42B3-B9DD-737182F244E8}"/>
              </a:ext>
            </a:extLst>
          </p:cNvPr>
          <p:cNvSpPr>
            <a:spLocks/>
          </p:cNvSpPr>
          <p:nvPr/>
        </p:nvSpPr>
        <p:spPr>
          <a:xfrm>
            <a:off x="1291967" y="2904331"/>
            <a:ext cx="138178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teven Spittaels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2A0F02DC-FBC1-47D8-B803-95E3D63ABB21}"/>
              </a:ext>
            </a:extLst>
          </p:cNvPr>
          <p:cNvSpPr>
            <a:spLocks/>
          </p:cNvSpPr>
          <p:nvPr/>
        </p:nvSpPr>
        <p:spPr>
          <a:xfrm>
            <a:off x="1291968" y="4775617"/>
            <a:ext cx="1262846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outer Aghina</a:t>
            </a:r>
          </a:p>
        </p:txBody>
      </p:sp>
      <p:sp>
        <p:nvSpPr>
          <p:cNvPr id="70" name="Rectangle 8">
            <a:extLst>
              <a:ext uri="{FF2B5EF4-FFF2-40B4-BE49-F238E27FC236}">
                <a16:creationId xmlns:a16="http://schemas.microsoft.com/office/drawing/2014/main" id="{E5F58C1C-3E1C-471E-82D3-94361EB286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6922" y="3231422"/>
            <a:ext cx="1344210" cy="369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Senior Partner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Brussels</a:t>
            </a:r>
          </a:p>
        </p:txBody>
      </p:sp>
      <p:sp>
        <p:nvSpPr>
          <p:cNvPr id="73" name="Rectangle 8">
            <a:extLst>
              <a:ext uri="{FF2B5EF4-FFF2-40B4-BE49-F238E27FC236}">
                <a16:creationId xmlns:a16="http://schemas.microsoft.com/office/drawing/2014/main" id="{99F74AC8-4318-420F-8573-2A1C315016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85966" y="5095483"/>
            <a:ext cx="1560584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Partner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Amsterdam</a:t>
            </a:r>
          </a:p>
        </p:txBody>
      </p:sp>
      <p:sp>
        <p:nvSpPr>
          <p:cNvPr id="102" name="Rectangle 19">
            <a:extLst>
              <a:ext uri="{FF2B5EF4-FFF2-40B4-BE49-F238E27FC236}">
                <a16:creationId xmlns:a16="http://schemas.microsoft.com/office/drawing/2014/main" id="{18E87D92-ACF5-49F5-B6C2-A04FAD44DC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45849" y="4728112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Rectangle 19">
            <a:extLst>
              <a:ext uri="{FF2B5EF4-FFF2-40B4-BE49-F238E27FC236}">
                <a16:creationId xmlns:a16="http://schemas.microsoft.com/office/drawing/2014/main" id="{4058A2D8-86D3-484E-819F-0044E66BBE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45849" y="2856826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19">
            <a:extLst>
              <a:ext uri="{FF2B5EF4-FFF2-40B4-BE49-F238E27FC236}">
                <a16:creationId xmlns:a16="http://schemas.microsoft.com/office/drawing/2014/main" id="{B40C3169-22EF-4DEE-855D-5CD908DE57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745849" y="976079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A27D44DA-AF39-4262-863E-9551180041CB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93014" y="911909"/>
            <a:ext cx="1048934" cy="5283261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EEC5D33B-57D8-4247-86D4-56F18214DD2C}"/>
              </a:ext>
            </a:extLst>
          </p:cNvPr>
          <p:cNvSpPr>
            <a:spLocks/>
          </p:cNvSpPr>
          <p:nvPr/>
        </p:nvSpPr>
        <p:spPr>
          <a:xfrm>
            <a:off x="8793014" y="911909"/>
            <a:ext cx="1048934" cy="5283261"/>
          </a:xfrm>
          <a:prstGeom prst="rect">
            <a:avLst/>
          </a:prstGeom>
          <a:solidFill>
            <a:schemeClr val="accent4">
              <a:alpha val="5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513B38FD-C5D6-49C2-BCF4-ABC005C9CA4B}"/>
              </a:ext>
            </a:extLst>
          </p:cNvPr>
          <p:cNvPicPr>
            <a:picLocks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2645" y="285604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EB010C9B-108A-4C8F-9DCA-28B4E64E38A5}"/>
              </a:ext>
            </a:extLst>
          </p:cNvPr>
          <p:cNvPicPr>
            <a:picLocks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7335" y="99531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56" name="Rectangle 155">
            <a:extLst>
              <a:ext uri="{FF2B5EF4-FFF2-40B4-BE49-F238E27FC236}">
                <a16:creationId xmlns:a16="http://schemas.microsoft.com/office/drawing/2014/main" id="{8D674DDF-E8DD-4E12-8405-F801EE27D429}"/>
              </a:ext>
            </a:extLst>
          </p:cNvPr>
          <p:cNvSpPr>
            <a:spLocks/>
          </p:cNvSpPr>
          <p:nvPr/>
        </p:nvSpPr>
        <p:spPr>
          <a:xfrm>
            <a:off x="9917642" y="1023584"/>
            <a:ext cx="16895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iljana Cvetanovski</a:t>
            </a:r>
          </a:p>
        </p:txBody>
      </p:sp>
      <p:sp>
        <p:nvSpPr>
          <p:cNvPr id="158" name="Rectangle 8">
            <a:extLst>
              <a:ext uri="{FF2B5EF4-FFF2-40B4-BE49-F238E27FC236}">
                <a16:creationId xmlns:a16="http://schemas.microsoft.com/office/drawing/2014/main" id="{358DD7D9-CFC6-447D-B94A-6487E4EBAB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36430" y="1363577"/>
            <a:ext cx="1560584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Associate Partner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London</a:t>
            </a:r>
          </a:p>
        </p:txBody>
      </p:sp>
      <p:sp>
        <p:nvSpPr>
          <p:cNvPr id="166" name="Rectangle 8">
            <a:extLst>
              <a:ext uri="{FF2B5EF4-FFF2-40B4-BE49-F238E27FC236}">
                <a16:creationId xmlns:a16="http://schemas.microsoft.com/office/drawing/2014/main" id="{D0E8A80A-45D1-4326-A706-2471AC9C3A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41579" y="3231422"/>
            <a:ext cx="1360425" cy="592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Engagement Manager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Hamburg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7BF0A1D5-0BA9-4AEB-B352-AD689ED2F360}"/>
              </a:ext>
            </a:extLst>
          </p:cNvPr>
          <p:cNvSpPr>
            <a:spLocks/>
          </p:cNvSpPr>
          <p:nvPr/>
        </p:nvSpPr>
        <p:spPr>
          <a:xfrm>
            <a:off x="9923379" y="2904331"/>
            <a:ext cx="145392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Rene Schmutzler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19374C91-406D-413F-BB89-7D817635A3A5}"/>
              </a:ext>
            </a:extLst>
          </p:cNvPr>
          <p:cNvPicPr>
            <a:picLocks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2645" y="4678252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D4965DCE-7BE0-4C6F-B914-6E3835F8A868}"/>
              </a:ext>
            </a:extLst>
          </p:cNvPr>
          <p:cNvSpPr>
            <a:spLocks/>
          </p:cNvSpPr>
          <p:nvPr/>
        </p:nvSpPr>
        <p:spPr>
          <a:xfrm>
            <a:off x="9949031" y="4775617"/>
            <a:ext cx="140583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smee Bergman</a:t>
            </a:r>
          </a:p>
        </p:txBody>
      </p:sp>
      <p:sp>
        <p:nvSpPr>
          <p:cNvPr id="97" name="Rectangle 8">
            <a:extLst>
              <a:ext uri="{FF2B5EF4-FFF2-40B4-BE49-F238E27FC236}">
                <a16:creationId xmlns:a16="http://schemas.microsoft.com/office/drawing/2014/main" id="{86C70BC3-DE88-48AA-B4AC-E926B0694F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9949031" y="5095483"/>
            <a:ext cx="1450012" cy="553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Practice Specialist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Amsterdam</a:t>
            </a:r>
          </a:p>
        </p:txBody>
      </p:sp>
      <p:sp>
        <p:nvSpPr>
          <p:cNvPr id="112" name="Rectangle 19">
            <a:extLst>
              <a:ext uri="{FF2B5EF4-FFF2-40B4-BE49-F238E27FC236}">
                <a16:creationId xmlns:a16="http://schemas.microsoft.com/office/drawing/2014/main" id="{44A65898-4F4D-4008-8D51-58185FB89E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0904" y="976079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8" name="Rectangle 19">
            <a:extLst>
              <a:ext uri="{FF2B5EF4-FFF2-40B4-BE49-F238E27FC236}">
                <a16:creationId xmlns:a16="http://schemas.microsoft.com/office/drawing/2014/main" id="{8F8545CC-A672-4BC4-B9E3-5547531ED8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0905" y="2871282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4" name="Rectangle 19">
            <a:extLst>
              <a:ext uri="{FF2B5EF4-FFF2-40B4-BE49-F238E27FC236}">
                <a16:creationId xmlns:a16="http://schemas.microsoft.com/office/drawing/2014/main" id="{A2A04F43-D8E0-4BC1-BB2B-D5230356A1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490" y="4728112"/>
            <a:ext cx="1904801" cy="3103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</a:ln>
          <a:effectLst/>
          <a:extLst/>
        </p:spPr>
        <p:txBody>
          <a:bodyPr wrap="square" lIns="33908" tIns="33908" rIns="33908" bIns="33908" anchor="ctr" anchorCtr="0">
            <a:noAutofit/>
          </a:bodyPr>
          <a:lstStyle/>
          <a:p>
            <a:endParaRPr lang="en-ZA" sz="12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04A06105-1671-4652-9536-6F2E849B244C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6071" y="911909"/>
            <a:ext cx="1048934" cy="5283261"/>
          </a:xfrm>
          <a:prstGeom prst="rect">
            <a:avLst/>
          </a:prstGeom>
        </p:spPr>
      </p:pic>
      <p:sp>
        <p:nvSpPr>
          <p:cNvPr id="108" name="Rectangle 107">
            <a:extLst>
              <a:ext uri="{FF2B5EF4-FFF2-40B4-BE49-F238E27FC236}">
                <a16:creationId xmlns:a16="http://schemas.microsoft.com/office/drawing/2014/main" id="{55A9E783-CDCC-4A15-B975-5C506D5BD7E5}"/>
              </a:ext>
            </a:extLst>
          </p:cNvPr>
          <p:cNvSpPr>
            <a:spLocks/>
          </p:cNvSpPr>
          <p:nvPr/>
        </p:nvSpPr>
        <p:spPr>
          <a:xfrm>
            <a:off x="3124556" y="911909"/>
            <a:ext cx="1048934" cy="5283261"/>
          </a:xfrm>
          <a:prstGeom prst="rect">
            <a:avLst/>
          </a:prstGeom>
          <a:solidFill>
            <a:schemeClr val="accent4">
              <a:alpha val="5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D220CF9F-1F5D-40D8-ADA1-4DD773D413F2}"/>
              </a:ext>
            </a:extLst>
          </p:cNvPr>
          <p:cNvPicPr>
            <a:picLocks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6282" y="2867767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3900E4EF-B937-40AF-90B4-1E75F6183249}"/>
              </a:ext>
            </a:extLst>
          </p:cNvPr>
          <p:cNvPicPr>
            <a:picLocks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5355" y="4726356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3" name="Rectangle 122">
            <a:extLst>
              <a:ext uri="{FF2B5EF4-FFF2-40B4-BE49-F238E27FC236}">
                <a16:creationId xmlns:a16="http://schemas.microsoft.com/office/drawing/2014/main" id="{6694A1B5-948A-4ABD-B957-3B7CEC1DE744}"/>
              </a:ext>
            </a:extLst>
          </p:cNvPr>
          <p:cNvSpPr>
            <a:spLocks/>
          </p:cNvSpPr>
          <p:nvPr/>
        </p:nvSpPr>
        <p:spPr>
          <a:xfrm>
            <a:off x="4229670" y="1023584"/>
            <a:ext cx="1737061" cy="2154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mmanuelle Doublet</a:t>
            </a:r>
          </a:p>
        </p:txBody>
      </p:sp>
      <p:sp>
        <p:nvSpPr>
          <p:cNvPr id="125" name="Rectangle 8">
            <a:extLst>
              <a:ext uri="{FF2B5EF4-FFF2-40B4-BE49-F238E27FC236}">
                <a16:creationId xmlns:a16="http://schemas.microsoft.com/office/drawing/2014/main" id="{FABEC4C8-5E26-41D6-BA10-E3CAD1EBC3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19728" y="1363577"/>
            <a:ext cx="1450012" cy="553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Associate Partner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Paris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54E53753-6962-45B6-A38C-4D2D307E463A}"/>
              </a:ext>
            </a:extLst>
          </p:cNvPr>
          <p:cNvSpPr>
            <a:spLocks/>
          </p:cNvSpPr>
          <p:nvPr/>
        </p:nvSpPr>
        <p:spPr>
          <a:xfrm>
            <a:off x="4229670" y="2904331"/>
            <a:ext cx="114127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jorn Timelin</a:t>
            </a:r>
          </a:p>
        </p:txBody>
      </p:sp>
      <p:sp>
        <p:nvSpPr>
          <p:cNvPr id="162" name="Rectangle 8">
            <a:extLst>
              <a:ext uri="{FF2B5EF4-FFF2-40B4-BE49-F238E27FC236}">
                <a16:creationId xmlns:a16="http://schemas.microsoft.com/office/drawing/2014/main" id="{345A4D4A-BC17-4D52-BD2A-D076A058C5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23487" y="3231422"/>
            <a:ext cx="1344210" cy="369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Partner</a:t>
            </a:r>
            <a:br>
              <a:rPr lang="en-ZA" sz="1200" b="1" dirty="0">
                <a:solidFill>
                  <a:schemeClr val="accent4"/>
                </a:solidFill>
                <a:cs typeface="Arial" pitchFamily="34" charset="0"/>
              </a:rPr>
            </a:b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London</a:t>
            </a:r>
          </a:p>
        </p:txBody>
      </p:sp>
      <p:sp>
        <p:nvSpPr>
          <p:cNvPr id="165" name="Rectangle 8">
            <a:extLst>
              <a:ext uri="{FF2B5EF4-FFF2-40B4-BE49-F238E27FC236}">
                <a16:creationId xmlns:a16="http://schemas.microsoft.com/office/drawing/2014/main" id="{54F99EB3-9C83-4235-8E01-074F6E11E1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02530" y="5095483"/>
            <a:ext cx="1560584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b="1" dirty="0">
                <a:solidFill>
                  <a:schemeClr val="accent4"/>
                </a:solidFill>
                <a:cs typeface="Arial" pitchFamily="34" charset="0"/>
              </a:rPr>
              <a:t>Partner</a:t>
            </a:r>
          </a:p>
          <a:p>
            <a:pPr>
              <a:spcBef>
                <a:spcPts val="261"/>
              </a:spcBef>
              <a:buClr>
                <a:srgbClr val="002960"/>
              </a:buClr>
            </a:pPr>
            <a:r>
              <a:rPr lang="en-ZA" sz="1200" dirty="0">
                <a:solidFill>
                  <a:schemeClr val="accent6"/>
                </a:solidFill>
                <a:cs typeface="Arial" pitchFamily="34" charset="0"/>
              </a:rPr>
              <a:t>London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7490A1C8-28A3-4F0D-91A8-C293B48DFDD4}"/>
              </a:ext>
            </a:extLst>
          </p:cNvPr>
          <p:cNvSpPr>
            <a:spLocks/>
          </p:cNvSpPr>
          <p:nvPr/>
        </p:nvSpPr>
        <p:spPr>
          <a:xfrm>
            <a:off x="4229670" y="4775617"/>
            <a:ext cx="1148841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ZA" sz="14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Caroline Tufft</a:t>
            </a: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04375FC8-8EC3-4A41-8216-3B05D2CB3565}"/>
              </a:ext>
            </a:extLst>
          </p:cNvPr>
          <p:cNvPicPr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3216282" y="995314"/>
            <a:ext cx="964292" cy="1298094"/>
          </a:xfrm>
          <a:prstGeom prst="round2DiagRect">
            <a:avLst/>
          </a:prstGeom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343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93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56B665-CA5A-4E2E-98FE-70CC9036B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Marketing org on a p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116053-F7D6-4196-A582-168A05E1C5ED}"/>
              </a:ext>
            </a:extLst>
          </p:cNvPr>
          <p:cNvSpPr txBox="1">
            <a:spLocks/>
          </p:cNvSpPr>
          <p:nvPr/>
        </p:nvSpPr>
        <p:spPr>
          <a:xfrm>
            <a:off x="309376" y="3048762"/>
            <a:ext cx="2571739" cy="15688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GB" sz="1700" dirty="0"/>
              <a:t>Marketing has changed more in the last 5 years than in the last 30, but marketing departments are still recognisable from 198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F1E027-668E-4A96-A941-188B788CCAB8}"/>
              </a:ext>
            </a:extLst>
          </p:cNvPr>
          <p:cNvSpPr txBox="1">
            <a:spLocks/>
          </p:cNvSpPr>
          <p:nvPr/>
        </p:nvSpPr>
        <p:spPr>
          <a:xfrm>
            <a:off x="3182348" y="3048762"/>
            <a:ext cx="2571739" cy="15688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GB" sz="1700" dirty="0"/>
              <a:t>Top of mind question for CMOs, with CMO level discussions at Unilever, FedEx, Diageo, Danone, Japan Tobacco, William Hill et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858FBD-C6CC-4A14-A5D5-676B8CB3E9F2}"/>
              </a:ext>
            </a:extLst>
          </p:cNvPr>
          <p:cNvSpPr txBox="1">
            <a:spLocks/>
          </p:cNvSpPr>
          <p:nvPr/>
        </p:nvSpPr>
        <p:spPr>
          <a:xfrm>
            <a:off x="6055322" y="3048762"/>
            <a:ext cx="2571739" cy="33992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GB" sz="1700" b="1" dirty="0">
                <a:solidFill>
                  <a:schemeClr val="tx2"/>
                </a:solidFill>
              </a:rPr>
              <a:t>Growth: </a:t>
            </a:r>
            <a:r>
              <a:rPr lang="en-GB" sz="1700" dirty="0"/>
              <a:t>Validated cases of 3-5% uplift in conversion and double digit profit increase from agile marketing</a:t>
            </a:r>
          </a:p>
          <a:p>
            <a:pPr>
              <a:spcBef>
                <a:spcPct val="100000"/>
              </a:spcBef>
            </a:pPr>
            <a:r>
              <a:rPr lang="en-GB" sz="1700" b="1" dirty="0">
                <a:solidFill>
                  <a:schemeClr val="tx2"/>
                </a:solidFill>
              </a:rPr>
              <a:t>Cost: </a:t>
            </a:r>
            <a:r>
              <a:rPr lang="en-GB" sz="1700" dirty="0"/>
              <a:t>Validated cases of 10-20% cost reduction while investing in new data and digital capabilities and faster, more connected ways of working</a:t>
            </a:r>
            <a:endParaRPr lang="en-GB" sz="17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F3BFA9-B318-4F22-8901-70C1E0EBB419}"/>
              </a:ext>
            </a:extLst>
          </p:cNvPr>
          <p:cNvSpPr txBox="1">
            <a:spLocks/>
          </p:cNvSpPr>
          <p:nvPr/>
        </p:nvSpPr>
        <p:spPr>
          <a:xfrm>
            <a:off x="8928294" y="3048762"/>
            <a:ext cx="2571739" cy="2745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700" dirty="0"/>
              <a:t>External article generating CMO interest</a:t>
            </a:r>
          </a:p>
          <a:p>
            <a:pPr>
              <a:spcBef>
                <a:spcPct val="50000"/>
              </a:spcBef>
            </a:pPr>
            <a:r>
              <a:rPr lang="en-GB" sz="1700" dirty="0"/>
              <a:t>CxO document</a:t>
            </a:r>
          </a:p>
          <a:p>
            <a:pPr>
              <a:spcBef>
                <a:spcPct val="50000"/>
              </a:spcBef>
            </a:pPr>
            <a:r>
              <a:rPr lang="en-GB" sz="1700" dirty="0"/>
              <a:t>LOP documents</a:t>
            </a:r>
          </a:p>
          <a:p>
            <a:pPr>
              <a:spcBef>
                <a:spcPct val="50000"/>
              </a:spcBef>
            </a:pPr>
            <a:r>
              <a:rPr lang="en-GB" sz="1700" dirty="0"/>
              <a:t>EM guide</a:t>
            </a:r>
          </a:p>
          <a:p>
            <a:pPr>
              <a:spcBef>
                <a:spcPct val="50000"/>
              </a:spcBef>
            </a:pPr>
            <a:r>
              <a:rPr lang="en-GB" sz="1700" dirty="0"/>
              <a:t>Tactical Playbook</a:t>
            </a:r>
          </a:p>
          <a:p>
            <a:pPr>
              <a:spcBef>
                <a:spcPct val="50000"/>
              </a:spcBef>
            </a:pPr>
            <a:r>
              <a:rPr lang="en-GB" sz="1700" dirty="0"/>
              <a:t>Academy training module on agile marketing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DA5AC7-A01B-41B8-BAEB-65D92E8C2A3E}"/>
              </a:ext>
            </a:extLst>
          </p:cNvPr>
          <p:cNvSpPr>
            <a:spLocks/>
          </p:cNvSpPr>
          <p:nvPr/>
        </p:nvSpPr>
        <p:spPr>
          <a:xfrm>
            <a:off x="8777677" y="2451746"/>
            <a:ext cx="2872972" cy="54734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00" b="1" dirty="0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3EE594F-6656-456E-ADB9-FDFF24C01CCD}"/>
              </a:ext>
            </a:extLst>
          </p:cNvPr>
          <p:cNvSpPr>
            <a:spLocks/>
          </p:cNvSpPr>
          <p:nvPr/>
        </p:nvSpPr>
        <p:spPr>
          <a:xfrm>
            <a:off x="5904705" y="2451746"/>
            <a:ext cx="2872972" cy="54734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2"/>
            </a:solidFill>
          </a:ln>
          <a:effectLst>
            <a:outerShdw blurRad="50800" dist="38100" algn="l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00" b="1" dirty="0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B25CDC7-FBFC-4600-A7D8-4E8F44BFB8C5}"/>
              </a:ext>
            </a:extLst>
          </p:cNvPr>
          <p:cNvSpPr>
            <a:spLocks/>
          </p:cNvSpPr>
          <p:nvPr/>
        </p:nvSpPr>
        <p:spPr>
          <a:xfrm>
            <a:off x="3031731" y="2451746"/>
            <a:ext cx="2872972" cy="54734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2"/>
            </a:solidFill>
          </a:ln>
          <a:effectLst>
            <a:outerShdw blurRad="50800" dist="38100" algn="l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00" b="1" dirty="0">
              <a:solidFill>
                <a:schemeClr val="tx1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1A7C913-3437-4AF4-8E33-CEA728C0DCCC}"/>
              </a:ext>
            </a:extLst>
          </p:cNvPr>
          <p:cNvSpPr>
            <a:spLocks/>
          </p:cNvSpPr>
          <p:nvPr/>
        </p:nvSpPr>
        <p:spPr>
          <a:xfrm>
            <a:off x="158759" y="2451746"/>
            <a:ext cx="2872972" cy="54734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2"/>
            </a:solidFill>
          </a:ln>
          <a:effectLst>
            <a:outerShdw blurRad="50800" dist="38100" algn="l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700" b="1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34A418-CB57-4F0C-BDF4-CEA6AFFE02A7}"/>
              </a:ext>
            </a:extLst>
          </p:cNvPr>
          <p:cNvSpPr txBox="1">
            <a:spLocks/>
          </p:cNvSpPr>
          <p:nvPr/>
        </p:nvSpPr>
        <p:spPr>
          <a:xfrm>
            <a:off x="283529" y="2574597"/>
            <a:ext cx="2623431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algn="ctr"/>
            <a:r>
              <a:rPr lang="en-GB" sz="1700" b="1" dirty="0">
                <a:solidFill>
                  <a:schemeClr val="bg1"/>
                </a:solidFill>
              </a:rPr>
              <a:t>Timely and on topi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1E86C4-9887-47F5-99B4-5BCB21972314}"/>
              </a:ext>
            </a:extLst>
          </p:cNvPr>
          <p:cNvSpPr txBox="1">
            <a:spLocks/>
          </p:cNvSpPr>
          <p:nvPr/>
        </p:nvSpPr>
        <p:spPr>
          <a:xfrm>
            <a:off x="3156501" y="2574597"/>
            <a:ext cx="2623431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685122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/>
            <a:r>
              <a:rPr lang="en-GB" sz="1700" b="1" dirty="0">
                <a:solidFill>
                  <a:schemeClr val="bg1"/>
                </a:solidFill>
              </a:rPr>
              <a:t>Clear client pu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26D8E2-8E89-49DF-911A-44AE784D311A}"/>
              </a:ext>
            </a:extLst>
          </p:cNvPr>
          <p:cNvSpPr txBox="1">
            <a:spLocks/>
          </p:cNvSpPr>
          <p:nvPr/>
        </p:nvSpPr>
        <p:spPr>
          <a:xfrm>
            <a:off x="6029475" y="2574597"/>
            <a:ext cx="2623431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685122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/>
            <a:r>
              <a:rPr lang="en-GB" sz="1700" b="1" dirty="0">
                <a:solidFill>
                  <a:schemeClr val="bg1"/>
                </a:solidFill>
              </a:rPr>
              <a:t>Huge value cre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739281-3491-41AD-94A3-3FF6E86D8FB5}"/>
              </a:ext>
            </a:extLst>
          </p:cNvPr>
          <p:cNvSpPr txBox="1">
            <a:spLocks/>
          </p:cNvSpPr>
          <p:nvPr/>
        </p:nvSpPr>
        <p:spPr>
          <a:xfrm>
            <a:off x="8902447" y="2574597"/>
            <a:ext cx="2623431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685122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/>
            <a:r>
              <a:rPr lang="en-GB" sz="1700" b="1" dirty="0">
                <a:solidFill>
                  <a:schemeClr val="bg1"/>
                </a:solidFill>
              </a:rPr>
              <a:t>Ready to go approach</a:t>
            </a:r>
          </a:p>
        </p:txBody>
      </p:sp>
      <p:pic>
        <p:nvPicPr>
          <p:cNvPr id="24578" name="Picture 2" descr="https://mm.gettyimages.com/api/1.0/owners/249873912/assets/587290376/thumbnails/master/vn?signature=f7dc5adb0a7f3ae5b21c0be779420899">
            <a:extLst>
              <a:ext uri="{FF2B5EF4-FFF2-40B4-BE49-F238E27FC236}">
                <a16:creationId xmlns:a16="http://schemas.microsoft.com/office/drawing/2014/main" id="{7B45EA3E-2D91-468E-BD0C-7A7ABB9F84D3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80" b="24664"/>
          <a:stretch/>
        </p:blipFill>
        <p:spPr bwMode="auto">
          <a:xfrm>
            <a:off x="158759" y="675522"/>
            <a:ext cx="11491890" cy="1669969"/>
          </a:xfrm>
          <a:prstGeom prst="rect">
            <a:avLst/>
          </a:prstGeom>
          <a:noFill/>
          <a:ln w="3175"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978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46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5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Marketing Organisation – Approach on a pag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FFFF0A69-14E4-4BA3-B76E-83BF3D1C82B9}"/>
              </a:ext>
            </a:extLst>
          </p:cNvPr>
          <p:cNvSpPr txBox="1"/>
          <p:nvPr/>
        </p:nvSpPr>
        <p:spPr>
          <a:xfrm>
            <a:off x="493530" y="4038262"/>
            <a:ext cx="3475381" cy="16250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dirty="0">
                <a:solidFill>
                  <a:schemeClr val="accent3"/>
                </a:solidFill>
              </a:rPr>
              <a:t>Applying agile ways of working at scale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Agile operating model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Innovation and product development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Stable backbone</a:t>
            </a:r>
          </a:p>
        </p:txBody>
      </p:sp>
      <p:grpSp>
        <p:nvGrpSpPr>
          <p:cNvPr id="123" name="CustomIcon">
            <a:extLst>
              <a:ext uri="{FF2B5EF4-FFF2-40B4-BE49-F238E27FC236}">
                <a16:creationId xmlns:a16="http://schemas.microsoft.com/office/drawing/2014/main" id="{721EE8B9-EA2A-4057-B7D0-A68409C9A63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823394" y="2959641"/>
            <a:ext cx="815654" cy="823682"/>
            <a:chOff x="0" y="0"/>
            <a:chExt cx="6127750" cy="6188075"/>
          </a:xfrm>
          <a:solidFill>
            <a:schemeClr val="accent3"/>
          </a:solidFill>
        </p:grpSpPr>
        <p:sp>
          <p:nvSpPr>
            <p:cNvPr id="124" name="Freeform 5">
              <a:extLst>
                <a:ext uri="{FF2B5EF4-FFF2-40B4-BE49-F238E27FC236}">
                  <a16:creationId xmlns:a16="http://schemas.microsoft.com/office/drawing/2014/main" id="{37DFF3B6-3414-4E2D-A650-C44A3E65B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6127750" cy="6188075"/>
            </a:xfrm>
            <a:custGeom>
              <a:avLst/>
              <a:gdLst>
                <a:gd name="T0" fmla="*/ 3100 w 3170"/>
                <a:gd name="T1" fmla="*/ 3058 h 3198"/>
                <a:gd name="T2" fmla="*/ 140 w 3170"/>
                <a:gd name="T3" fmla="*/ 3058 h 3198"/>
                <a:gd name="T4" fmla="*/ 140 w 3170"/>
                <a:gd name="T5" fmla="*/ 70 h 3198"/>
                <a:gd name="T6" fmla="*/ 70 w 3170"/>
                <a:gd name="T7" fmla="*/ 0 h 3198"/>
                <a:gd name="T8" fmla="*/ 0 w 3170"/>
                <a:gd name="T9" fmla="*/ 70 h 3198"/>
                <a:gd name="T10" fmla="*/ 0 w 3170"/>
                <a:gd name="T11" fmla="*/ 3128 h 3198"/>
                <a:gd name="T12" fmla="*/ 70 w 3170"/>
                <a:gd name="T13" fmla="*/ 3198 h 3198"/>
                <a:gd name="T14" fmla="*/ 3100 w 3170"/>
                <a:gd name="T15" fmla="*/ 3198 h 3198"/>
                <a:gd name="T16" fmla="*/ 3170 w 3170"/>
                <a:gd name="T17" fmla="*/ 3128 h 3198"/>
                <a:gd name="T18" fmla="*/ 3100 w 3170"/>
                <a:gd name="T19" fmla="*/ 3058 h 3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0" h="3198">
                  <a:moveTo>
                    <a:pt x="3100" y="3058"/>
                  </a:moveTo>
                  <a:cubicBezTo>
                    <a:pt x="140" y="3058"/>
                    <a:pt x="140" y="3058"/>
                    <a:pt x="140" y="3058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32"/>
                    <a:pt x="109" y="0"/>
                    <a:pt x="70" y="0"/>
                  </a:cubicBezTo>
                  <a:cubicBezTo>
                    <a:pt x="32" y="0"/>
                    <a:pt x="0" y="32"/>
                    <a:pt x="0" y="70"/>
                  </a:cubicBezTo>
                  <a:cubicBezTo>
                    <a:pt x="0" y="3128"/>
                    <a:pt x="0" y="3128"/>
                    <a:pt x="0" y="3128"/>
                  </a:cubicBezTo>
                  <a:cubicBezTo>
                    <a:pt x="0" y="3166"/>
                    <a:pt x="32" y="3198"/>
                    <a:pt x="70" y="3198"/>
                  </a:cubicBezTo>
                  <a:cubicBezTo>
                    <a:pt x="3100" y="3198"/>
                    <a:pt x="3100" y="3198"/>
                    <a:pt x="3100" y="3198"/>
                  </a:cubicBezTo>
                  <a:cubicBezTo>
                    <a:pt x="3139" y="3198"/>
                    <a:pt x="3170" y="3166"/>
                    <a:pt x="3170" y="3128"/>
                  </a:cubicBezTo>
                  <a:cubicBezTo>
                    <a:pt x="3170" y="3089"/>
                    <a:pt x="3139" y="3058"/>
                    <a:pt x="3100" y="30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5" name="Freeform 6">
              <a:extLst>
                <a:ext uri="{FF2B5EF4-FFF2-40B4-BE49-F238E27FC236}">
                  <a16:creationId xmlns:a16="http://schemas.microsoft.com/office/drawing/2014/main" id="{7482D9BB-E17A-4FFC-AF26-4F8FD8D84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088" y="793750"/>
              <a:ext cx="4430713" cy="4411663"/>
            </a:xfrm>
            <a:custGeom>
              <a:avLst/>
              <a:gdLst>
                <a:gd name="T0" fmla="*/ 48 w 2292"/>
                <a:gd name="T1" fmla="*/ 2272 h 2280"/>
                <a:gd name="T2" fmla="*/ 80 w 2292"/>
                <a:gd name="T3" fmla="*/ 2280 h 2280"/>
                <a:gd name="T4" fmla="*/ 142 w 2292"/>
                <a:gd name="T5" fmla="*/ 2242 h 2280"/>
                <a:gd name="T6" fmla="*/ 472 w 2292"/>
                <a:gd name="T7" fmla="*/ 1605 h 2280"/>
                <a:gd name="T8" fmla="*/ 1390 w 2292"/>
                <a:gd name="T9" fmla="*/ 1605 h 2280"/>
                <a:gd name="T10" fmla="*/ 1451 w 2292"/>
                <a:gd name="T11" fmla="*/ 1570 h 2280"/>
                <a:gd name="T12" fmla="*/ 1837 w 2292"/>
                <a:gd name="T13" fmla="*/ 899 h 2280"/>
                <a:gd name="T14" fmla="*/ 2189 w 2292"/>
                <a:gd name="T15" fmla="*/ 1085 h 2280"/>
                <a:gd name="T16" fmla="*/ 2221 w 2292"/>
                <a:gd name="T17" fmla="*/ 1093 h 2280"/>
                <a:gd name="T18" fmla="*/ 2258 w 2292"/>
                <a:gd name="T19" fmla="*/ 1082 h 2280"/>
                <a:gd name="T20" fmla="*/ 2291 w 2292"/>
                <a:gd name="T21" fmla="*/ 1021 h 2280"/>
                <a:gd name="T22" fmla="*/ 2262 w 2292"/>
                <a:gd name="T23" fmla="*/ 72 h 2280"/>
                <a:gd name="T24" fmla="*/ 2225 w 2292"/>
                <a:gd name="T25" fmla="*/ 12 h 2280"/>
                <a:gd name="T26" fmla="*/ 2155 w 2292"/>
                <a:gd name="T27" fmla="*/ 15 h 2280"/>
                <a:gd name="T28" fmla="*/ 1354 w 2292"/>
                <a:gd name="T29" fmla="*/ 525 h 2280"/>
                <a:gd name="T30" fmla="*/ 1322 w 2292"/>
                <a:gd name="T31" fmla="*/ 587 h 2280"/>
                <a:gd name="T32" fmla="*/ 1359 w 2292"/>
                <a:gd name="T33" fmla="*/ 646 h 2280"/>
                <a:gd name="T34" fmla="*/ 1714 w 2292"/>
                <a:gd name="T35" fmla="*/ 834 h 2280"/>
                <a:gd name="T36" fmla="*/ 1350 w 2292"/>
                <a:gd name="T37" fmla="*/ 1465 h 2280"/>
                <a:gd name="T38" fmla="*/ 429 w 2292"/>
                <a:gd name="T39" fmla="*/ 1465 h 2280"/>
                <a:gd name="T40" fmla="*/ 367 w 2292"/>
                <a:gd name="T41" fmla="*/ 1502 h 2280"/>
                <a:gd name="T42" fmla="*/ 18 w 2292"/>
                <a:gd name="T43" fmla="*/ 2178 h 2280"/>
                <a:gd name="T44" fmla="*/ 48 w 2292"/>
                <a:gd name="T45" fmla="*/ 2272 h 2280"/>
                <a:gd name="T46" fmla="*/ 2126 w 2292"/>
                <a:gd name="T47" fmla="*/ 199 h 2280"/>
                <a:gd name="T48" fmla="*/ 2148 w 2292"/>
                <a:gd name="T49" fmla="*/ 905 h 2280"/>
                <a:gd name="T50" fmla="*/ 1531 w 2292"/>
                <a:gd name="T51" fmla="*/ 579 h 2280"/>
                <a:gd name="T52" fmla="*/ 2126 w 2292"/>
                <a:gd name="T53" fmla="*/ 199 h 2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92" h="2280">
                  <a:moveTo>
                    <a:pt x="48" y="2272"/>
                  </a:moveTo>
                  <a:cubicBezTo>
                    <a:pt x="58" y="2277"/>
                    <a:pt x="69" y="2280"/>
                    <a:pt x="80" y="2280"/>
                  </a:cubicBezTo>
                  <a:cubicBezTo>
                    <a:pt x="105" y="2280"/>
                    <a:pt x="129" y="2266"/>
                    <a:pt x="142" y="2242"/>
                  </a:cubicBezTo>
                  <a:cubicBezTo>
                    <a:pt x="472" y="1605"/>
                    <a:pt x="472" y="1605"/>
                    <a:pt x="472" y="1605"/>
                  </a:cubicBezTo>
                  <a:cubicBezTo>
                    <a:pt x="1390" y="1605"/>
                    <a:pt x="1390" y="1605"/>
                    <a:pt x="1390" y="1605"/>
                  </a:cubicBezTo>
                  <a:cubicBezTo>
                    <a:pt x="1415" y="1605"/>
                    <a:pt x="1438" y="1591"/>
                    <a:pt x="1451" y="1570"/>
                  </a:cubicBezTo>
                  <a:cubicBezTo>
                    <a:pt x="1837" y="899"/>
                    <a:pt x="1837" y="899"/>
                    <a:pt x="1837" y="899"/>
                  </a:cubicBezTo>
                  <a:cubicBezTo>
                    <a:pt x="2189" y="1085"/>
                    <a:pt x="2189" y="1085"/>
                    <a:pt x="2189" y="1085"/>
                  </a:cubicBezTo>
                  <a:cubicBezTo>
                    <a:pt x="2199" y="1090"/>
                    <a:pt x="2210" y="1093"/>
                    <a:pt x="2221" y="1093"/>
                  </a:cubicBezTo>
                  <a:cubicBezTo>
                    <a:pt x="2234" y="1093"/>
                    <a:pt x="2247" y="1089"/>
                    <a:pt x="2258" y="1082"/>
                  </a:cubicBezTo>
                  <a:cubicBezTo>
                    <a:pt x="2279" y="1069"/>
                    <a:pt x="2292" y="1046"/>
                    <a:pt x="2291" y="1021"/>
                  </a:cubicBezTo>
                  <a:cubicBezTo>
                    <a:pt x="2262" y="72"/>
                    <a:pt x="2262" y="72"/>
                    <a:pt x="2262" y="72"/>
                  </a:cubicBezTo>
                  <a:cubicBezTo>
                    <a:pt x="2262" y="46"/>
                    <a:pt x="2247" y="24"/>
                    <a:pt x="2225" y="12"/>
                  </a:cubicBezTo>
                  <a:cubicBezTo>
                    <a:pt x="2203" y="0"/>
                    <a:pt x="2176" y="1"/>
                    <a:pt x="2155" y="15"/>
                  </a:cubicBezTo>
                  <a:cubicBezTo>
                    <a:pt x="1354" y="525"/>
                    <a:pt x="1354" y="525"/>
                    <a:pt x="1354" y="525"/>
                  </a:cubicBezTo>
                  <a:cubicBezTo>
                    <a:pt x="1333" y="539"/>
                    <a:pt x="1321" y="562"/>
                    <a:pt x="1322" y="587"/>
                  </a:cubicBezTo>
                  <a:cubicBezTo>
                    <a:pt x="1323" y="612"/>
                    <a:pt x="1337" y="634"/>
                    <a:pt x="1359" y="646"/>
                  </a:cubicBezTo>
                  <a:cubicBezTo>
                    <a:pt x="1714" y="834"/>
                    <a:pt x="1714" y="834"/>
                    <a:pt x="1714" y="834"/>
                  </a:cubicBezTo>
                  <a:cubicBezTo>
                    <a:pt x="1350" y="1465"/>
                    <a:pt x="1350" y="1465"/>
                    <a:pt x="1350" y="1465"/>
                  </a:cubicBezTo>
                  <a:cubicBezTo>
                    <a:pt x="429" y="1465"/>
                    <a:pt x="429" y="1465"/>
                    <a:pt x="429" y="1465"/>
                  </a:cubicBezTo>
                  <a:cubicBezTo>
                    <a:pt x="403" y="1465"/>
                    <a:pt x="379" y="1479"/>
                    <a:pt x="367" y="1502"/>
                  </a:cubicBezTo>
                  <a:cubicBezTo>
                    <a:pt x="18" y="2178"/>
                    <a:pt x="18" y="2178"/>
                    <a:pt x="18" y="2178"/>
                  </a:cubicBezTo>
                  <a:cubicBezTo>
                    <a:pt x="0" y="2212"/>
                    <a:pt x="13" y="2254"/>
                    <a:pt x="48" y="2272"/>
                  </a:cubicBezTo>
                  <a:close/>
                  <a:moveTo>
                    <a:pt x="2126" y="199"/>
                  </a:moveTo>
                  <a:cubicBezTo>
                    <a:pt x="2148" y="905"/>
                    <a:pt x="2148" y="905"/>
                    <a:pt x="2148" y="905"/>
                  </a:cubicBezTo>
                  <a:cubicBezTo>
                    <a:pt x="1531" y="579"/>
                    <a:pt x="1531" y="579"/>
                    <a:pt x="1531" y="579"/>
                  </a:cubicBezTo>
                  <a:lnTo>
                    <a:pt x="2126" y="1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D76BEE3C-D440-49B2-8E0C-81EB351A239D}"/>
              </a:ext>
            </a:extLst>
          </p:cNvPr>
          <p:cNvSpPr txBox="1"/>
          <p:nvPr/>
        </p:nvSpPr>
        <p:spPr>
          <a:xfrm>
            <a:off x="8246353" y="4038262"/>
            <a:ext cx="2846406" cy="14319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dirty="0">
                <a:solidFill>
                  <a:schemeClr val="accent2"/>
                </a:solidFill>
              </a:rPr>
              <a:t>Building your marketing capabilities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Advanced analytics/big data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UX (user experience)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Content publishing</a:t>
            </a:r>
          </a:p>
        </p:txBody>
      </p:sp>
      <p:grpSp>
        <p:nvGrpSpPr>
          <p:cNvPr id="127" name="CustomIcon">
            <a:extLst>
              <a:ext uri="{FF2B5EF4-FFF2-40B4-BE49-F238E27FC236}">
                <a16:creationId xmlns:a16="http://schemas.microsoft.com/office/drawing/2014/main" id="{D840CEB1-6433-45CC-B32B-8711A5B542B1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189288" y="2823033"/>
            <a:ext cx="960537" cy="960290"/>
            <a:chOff x="1588" y="-9525"/>
            <a:chExt cx="6170612" cy="6169025"/>
          </a:xfrm>
        </p:grpSpPr>
        <p:sp>
          <p:nvSpPr>
            <p:cNvPr id="128" name="Freeform 10">
              <a:extLst>
                <a:ext uri="{FF2B5EF4-FFF2-40B4-BE49-F238E27FC236}">
                  <a16:creationId xmlns:a16="http://schemas.microsoft.com/office/drawing/2014/main" id="{72107258-D601-494B-9114-8FD68DD3C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-9525"/>
              <a:ext cx="5816600" cy="6169025"/>
            </a:xfrm>
            <a:custGeom>
              <a:avLst/>
              <a:gdLst>
                <a:gd name="T0" fmla="*/ 1596 w 3009"/>
                <a:gd name="T1" fmla="*/ 3188 h 3188"/>
                <a:gd name="T2" fmla="*/ 975 w 3009"/>
                <a:gd name="T3" fmla="*/ 3063 h 3188"/>
                <a:gd name="T4" fmla="*/ 467 w 3009"/>
                <a:gd name="T5" fmla="*/ 2721 h 3188"/>
                <a:gd name="T6" fmla="*/ 125 w 3009"/>
                <a:gd name="T7" fmla="*/ 2213 h 3188"/>
                <a:gd name="T8" fmla="*/ 0 w 3009"/>
                <a:gd name="T9" fmla="*/ 1592 h 3188"/>
                <a:gd name="T10" fmla="*/ 415 w 3009"/>
                <a:gd name="T11" fmla="*/ 519 h 3188"/>
                <a:gd name="T12" fmla="*/ 1433 w 3009"/>
                <a:gd name="T13" fmla="*/ 4 h 3188"/>
                <a:gd name="T14" fmla="*/ 1510 w 3009"/>
                <a:gd name="T15" fmla="*/ 67 h 3188"/>
                <a:gd name="T16" fmla="*/ 1447 w 3009"/>
                <a:gd name="T17" fmla="*/ 144 h 3188"/>
                <a:gd name="T18" fmla="*/ 140 w 3009"/>
                <a:gd name="T19" fmla="*/ 1592 h 3188"/>
                <a:gd name="T20" fmla="*/ 1596 w 3009"/>
                <a:gd name="T21" fmla="*/ 3048 h 3188"/>
                <a:gd name="T22" fmla="*/ 2867 w 3009"/>
                <a:gd name="T23" fmla="*/ 2302 h 3188"/>
                <a:gd name="T24" fmla="*/ 2963 w 3009"/>
                <a:gd name="T25" fmla="*/ 2275 h 3188"/>
                <a:gd name="T26" fmla="*/ 2990 w 3009"/>
                <a:gd name="T27" fmla="*/ 2370 h 3188"/>
                <a:gd name="T28" fmla="*/ 2415 w 3009"/>
                <a:gd name="T29" fmla="*/ 2962 h 3188"/>
                <a:gd name="T30" fmla="*/ 1596 w 3009"/>
                <a:gd name="T31" fmla="*/ 3188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09" h="3188">
                  <a:moveTo>
                    <a:pt x="1596" y="3188"/>
                  </a:moveTo>
                  <a:cubicBezTo>
                    <a:pt x="1381" y="3188"/>
                    <a:pt x="1172" y="3146"/>
                    <a:pt x="975" y="3063"/>
                  </a:cubicBezTo>
                  <a:cubicBezTo>
                    <a:pt x="785" y="2982"/>
                    <a:pt x="614" y="2867"/>
                    <a:pt x="467" y="2721"/>
                  </a:cubicBezTo>
                  <a:cubicBezTo>
                    <a:pt x="321" y="2574"/>
                    <a:pt x="206" y="2403"/>
                    <a:pt x="125" y="2213"/>
                  </a:cubicBezTo>
                  <a:cubicBezTo>
                    <a:pt x="42" y="2017"/>
                    <a:pt x="0" y="1807"/>
                    <a:pt x="0" y="1592"/>
                  </a:cubicBezTo>
                  <a:cubicBezTo>
                    <a:pt x="0" y="1194"/>
                    <a:pt x="147" y="813"/>
                    <a:pt x="415" y="519"/>
                  </a:cubicBezTo>
                  <a:cubicBezTo>
                    <a:pt x="680" y="227"/>
                    <a:pt x="1042" y="44"/>
                    <a:pt x="1433" y="4"/>
                  </a:cubicBezTo>
                  <a:cubicBezTo>
                    <a:pt x="1471" y="0"/>
                    <a:pt x="1506" y="28"/>
                    <a:pt x="1510" y="67"/>
                  </a:cubicBezTo>
                  <a:cubicBezTo>
                    <a:pt x="1514" y="105"/>
                    <a:pt x="1486" y="140"/>
                    <a:pt x="1447" y="144"/>
                  </a:cubicBezTo>
                  <a:cubicBezTo>
                    <a:pt x="702" y="219"/>
                    <a:pt x="140" y="842"/>
                    <a:pt x="140" y="1592"/>
                  </a:cubicBezTo>
                  <a:cubicBezTo>
                    <a:pt x="140" y="2395"/>
                    <a:pt x="793" y="3048"/>
                    <a:pt x="1596" y="3048"/>
                  </a:cubicBezTo>
                  <a:cubicBezTo>
                    <a:pt x="2123" y="3048"/>
                    <a:pt x="2610" y="2762"/>
                    <a:pt x="2867" y="2302"/>
                  </a:cubicBezTo>
                  <a:cubicBezTo>
                    <a:pt x="2886" y="2268"/>
                    <a:pt x="2929" y="2256"/>
                    <a:pt x="2963" y="2275"/>
                  </a:cubicBezTo>
                  <a:cubicBezTo>
                    <a:pt x="2996" y="2294"/>
                    <a:pt x="3009" y="2337"/>
                    <a:pt x="2990" y="2370"/>
                  </a:cubicBezTo>
                  <a:cubicBezTo>
                    <a:pt x="2853" y="2614"/>
                    <a:pt x="2655" y="2819"/>
                    <a:pt x="2415" y="2962"/>
                  </a:cubicBezTo>
                  <a:cubicBezTo>
                    <a:pt x="2168" y="3110"/>
                    <a:pt x="1885" y="3188"/>
                    <a:pt x="1596" y="31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9" name="Freeform 11">
              <a:extLst>
                <a:ext uri="{FF2B5EF4-FFF2-40B4-BE49-F238E27FC236}">
                  <a16:creationId xmlns:a16="http://schemas.microsoft.com/office/drawing/2014/main" id="{6FB9E682-7117-4345-9DD4-24D04B12D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450" y="809625"/>
              <a:ext cx="1174750" cy="3236913"/>
            </a:xfrm>
            <a:custGeom>
              <a:avLst/>
              <a:gdLst>
                <a:gd name="T0" fmla="*/ 475 w 608"/>
                <a:gd name="T1" fmla="*/ 1673 h 1673"/>
                <a:gd name="T2" fmla="*/ 456 w 608"/>
                <a:gd name="T3" fmla="*/ 1670 h 1673"/>
                <a:gd name="T4" fmla="*/ 408 w 608"/>
                <a:gd name="T5" fmla="*/ 1583 h 1673"/>
                <a:gd name="T6" fmla="*/ 468 w 608"/>
                <a:gd name="T7" fmla="*/ 1169 h 1673"/>
                <a:gd name="T8" fmla="*/ 29 w 608"/>
                <a:gd name="T9" fmla="*/ 127 h 1673"/>
                <a:gd name="T10" fmla="*/ 27 w 608"/>
                <a:gd name="T11" fmla="*/ 28 h 1673"/>
                <a:gd name="T12" fmla="*/ 126 w 608"/>
                <a:gd name="T13" fmla="*/ 27 h 1673"/>
                <a:gd name="T14" fmla="*/ 479 w 608"/>
                <a:gd name="T15" fmla="*/ 539 h 1673"/>
                <a:gd name="T16" fmla="*/ 608 w 608"/>
                <a:gd name="T17" fmla="*/ 1169 h 1673"/>
                <a:gd name="T18" fmla="*/ 543 w 608"/>
                <a:gd name="T19" fmla="*/ 1623 h 1673"/>
                <a:gd name="T20" fmla="*/ 475 w 608"/>
                <a:gd name="T21" fmla="*/ 1673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8" h="1673">
                  <a:moveTo>
                    <a:pt x="475" y="1673"/>
                  </a:moveTo>
                  <a:cubicBezTo>
                    <a:pt x="469" y="1673"/>
                    <a:pt x="462" y="1672"/>
                    <a:pt x="456" y="1670"/>
                  </a:cubicBezTo>
                  <a:cubicBezTo>
                    <a:pt x="419" y="1659"/>
                    <a:pt x="397" y="1620"/>
                    <a:pt x="408" y="1583"/>
                  </a:cubicBezTo>
                  <a:cubicBezTo>
                    <a:pt x="448" y="1449"/>
                    <a:pt x="468" y="1310"/>
                    <a:pt x="468" y="1169"/>
                  </a:cubicBezTo>
                  <a:cubicBezTo>
                    <a:pt x="468" y="773"/>
                    <a:pt x="312" y="403"/>
                    <a:pt x="29" y="127"/>
                  </a:cubicBezTo>
                  <a:cubicBezTo>
                    <a:pt x="1" y="100"/>
                    <a:pt x="0" y="55"/>
                    <a:pt x="27" y="28"/>
                  </a:cubicBezTo>
                  <a:cubicBezTo>
                    <a:pt x="54" y="0"/>
                    <a:pt x="99" y="0"/>
                    <a:pt x="126" y="27"/>
                  </a:cubicBezTo>
                  <a:cubicBezTo>
                    <a:pt x="277" y="174"/>
                    <a:pt x="396" y="346"/>
                    <a:pt x="479" y="539"/>
                  </a:cubicBezTo>
                  <a:cubicBezTo>
                    <a:pt x="564" y="738"/>
                    <a:pt x="608" y="950"/>
                    <a:pt x="608" y="1169"/>
                  </a:cubicBezTo>
                  <a:cubicBezTo>
                    <a:pt x="608" y="1323"/>
                    <a:pt x="586" y="1476"/>
                    <a:pt x="543" y="1623"/>
                  </a:cubicBezTo>
                  <a:cubicBezTo>
                    <a:pt x="534" y="1653"/>
                    <a:pt x="506" y="1673"/>
                    <a:pt x="475" y="167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30" name="Freeform 12">
              <a:extLst>
                <a:ext uri="{FF2B5EF4-FFF2-40B4-BE49-F238E27FC236}">
                  <a16:creationId xmlns:a16="http://schemas.microsoft.com/office/drawing/2014/main" id="{5712E23A-DD0C-4F72-A5AE-279E12058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713" y="9525"/>
              <a:ext cx="1376363" cy="682625"/>
            </a:xfrm>
            <a:custGeom>
              <a:avLst/>
              <a:gdLst>
                <a:gd name="T0" fmla="*/ 632 w 712"/>
                <a:gd name="T1" fmla="*/ 353 h 353"/>
                <a:gd name="T2" fmla="*/ 595 w 712"/>
                <a:gd name="T3" fmla="*/ 343 h 353"/>
                <a:gd name="T4" fmla="*/ 64 w 712"/>
                <a:gd name="T5" fmla="*/ 145 h 353"/>
                <a:gd name="T6" fmla="*/ 7 w 712"/>
                <a:gd name="T7" fmla="*/ 64 h 353"/>
                <a:gd name="T8" fmla="*/ 87 w 712"/>
                <a:gd name="T9" fmla="*/ 6 h 353"/>
                <a:gd name="T10" fmla="*/ 669 w 712"/>
                <a:gd name="T11" fmla="*/ 223 h 353"/>
                <a:gd name="T12" fmla="*/ 692 w 712"/>
                <a:gd name="T13" fmla="*/ 320 h 353"/>
                <a:gd name="T14" fmla="*/ 632 w 712"/>
                <a:gd name="T1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2" h="353">
                  <a:moveTo>
                    <a:pt x="632" y="353"/>
                  </a:moveTo>
                  <a:cubicBezTo>
                    <a:pt x="620" y="353"/>
                    <a:pt x="607" y="350"/>
                    <a:pt x="595" y="343"/>
                  </a:cubicBezTo>
                  <a:cubicBezTo>
                    <a:pt x="432" y="242"/>
                    <a:pt x="254" y="175"/>
                    <a:pt x="64" y="145"/>
                  </a:cubicBezTo>
                  <a:cubicBezTo>
                    <a:pt x="26" y="139"/>
                    <a:pt x="0" y="103"/>
                    <a:pt x="7" y="64"/>
                  </a:cubicBezTo>
                  <a:cubicBezTo>
                    <a:pt x="13" y="26"/>
                    <a:pt x="49" y="0"/>
                    <a:pt x="87" y="6"/>
                  </a:cubicBezTo>
                  <a:cubicBezTo>
                    <a:pt x="294" y="40"/>
                    <a:pt x="490" y="113"/>
                    <a:pt x="669" y="223"/>
                  </a:cubicBezTo>
                  <a:cubicBezTo>
                    <a:pt x="702" y="244"/>
                    <a:pt x="712" y="287"/>
                    <a:pt x="692" y="320"/>
                  </a:cubicBezTo>
                  <a:cubicBezTo>
                    <a:pt x="678" y="341"/>
                    <a:pt x="656" y="353"/>
                    <a:pt x="632" y="3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31" name="Freeform 13">
              <a:extLst>
                <a:ext uri="{FF2B5EF4-FFF2-40B4-BE49-F238E27FC236}">
                  <a16:creationId xmlns:a16="http://schemas.microsoft.com/office/drawing/2014/main" id="{8530AD94-3000-4B1C-B96B-D40215096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1750" y="3033713"/>
              <a:ext cx="935038" cy="1560513"/>
            </a:xfrm>
            <a:custGeom>
              <a:avLst/>
              <a:gdLst>
                <a:gd name="T0" fmla="*/ 414 w 484"/>
                <a:gd name="T1" fmla="*/ 806 h 806"/>
                <a:gd name="T2" fmla="*/ 70 w 484"/>
                <a:gd name="T3" fmla="*/ 806 h 806"/>
                <a:gd name="T4" fmla="*/ 0 w 484"/>
                <a:gd name="T5" fmla="*/ 736 h 806"/>
                <a:gd name="T6" fmla="*/ 0 w 484"/>
                <a:gd name="T7" fmla="*/ 70 h 806"/>
                <a:gd name="T8" fmla="*/ 70 w 484"/>
                <a:gd name="T9" fmla="*/ 0 h 806"/>
                <a:gd name="T10" fmla="*/ 414 w 484"/>
                <a:gd name="T11" fmla="*/ 0 h 806"/>
                <a:gd name="T12" fmla="*/ 484 w 484"/>
                <a:gd name="T13" fmla="*/ 70 h 806"/>
                <a:gd name="T14" fmla="*/ 484 w 484"/>
                <a:gd name="T15" fmla="*/ 736 h 806"/>
                <a:gd name="T16" fmla="*/ 414 w 484"/>
                <a:gd name="T17" fmla="*/ 806 h 806"/>
                <a:gd name="T18" fmla="*/ 140 w 484"/>
                <a:gd name="T19" fmla="*/ 666 h 806"/>
                <a:gd name="T20" fmla="*/ 344 w 484"/>
                <a:gd name="T21" fmla="*/ 666 h 806"/>
                <a:gd name="T22" fmla="*/ 344 w 484"/>
                <a:gd name="T23" fmla="*/ 140 h 806"/>
                <a:gd name="T24" fmla="*/ 140 w 484"/>
                <a:gd name="T25" fmla="*/ 140 h 806"/>
                <a:gd name="T26" fmla="*/ 140 w 484"/>
                <a:gd name="T27" fmla="*/ 66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4" h="806">
                  <a:moveTo>
                    <a:pt x="414" y="806"/>
                  </a:moveTo>
                  <a:cubicBezTo>
                    <a:pt x="70" y="806"/>
                    <a:pt x="70" y="806"/>
                    <a:pt x="70" y="806"/>
                  </a:cubicBezTo>
                  <a:cubicBezTo>
                    <a:pt x="31" y="806"/>
                    <a:pt x="0" y="775"/>
                    <a:pt x="0" y="736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52" y="0"/>
                    <a:pt x="484" y="31"/>
                    <a:pt x="484" y="70"/>
                  </a:cubicBezTo>
                  <a:cubicBezTo>
                    <a:pt x="484" y="736"/>
                    <a:pt x="484" y="736"/>
                    <a:pt x="484" y="736"/>
                  </a:cubicBezTo>
                  <a:cubicBezTo>
                    <a:pt x="484" y="775"/>
                    <a:pt x="452" y="806"/>
                    <a:pt x="414" y="806"/>
                  </a:cubicBezTo>
                  <a:close/>
                  <a:moveTo>
                    <a:pt x="140" y="666"/>
                  </a:moveTo>
                  <a:cubicBezTo>
                    <a:pt x="344" y="666"/>
                    <a:pt x="344" y="666"/>
                    <a:pt x="344" y="666"/>
                  </a:cubicBezTo>
                  <a:cubicBezTo>
                    <a:pt x="344" y="140"/>
                    <a:pt x="344" y="140"/>
                    <a:pt x="344" y="140"/>
                  </a:cubicBezTo>
                  <a:cubicBezTo>
                    <a:pt x="140" y="140"/>
                    <a:pt x="140" y="140"/>
                    <a:pt x="140" y="140"/>
                  </a:cubicBezTo>
                  <a:lnTo>
                    <a:pt x="140" y="66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32" name="Freeform 14">
              <a:extLst>
                <a:ext uri="{FF2B5EF4-FFF2-40B4-BE49-F238E27FC236}">
                  <a16:creationId xmlns:a16="http://schemas.microsoft.com/office/drawing/2014/main" id="{C7958BF9-BEE6-467E-B64E-742ABA1F8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9375" y="2279650"/>
              <a:ext cx="935038" cy="2314575"/>
            </a:xfrm>
            <a:custGeom>
              <a:avLst/>
              <a:gdLst>
                <a:gd name="T0" fmla="*/ 414 w 484"/>
                <a:gd name="T1" fmla="*/ 1196 h 1196"/>
                <a:gd name="T2" fmla="*/ 70 w 484"/>
                <a:gd name="T3" fmla="*/ 1196 h 1196"/>
                <a:gd name="T4" fmla="*/ 0 w 484"/>
                <a:gd name="T5" fmla="*/ 1126 h 1196"/>
                <a:gd name="T6" fmla="*/ 0 w 484"/>
                <a:gd name="T7" fmla="*/ 70 h 1196"/>
                <a:gd name="T8" fmla="*/ 70 w 484"/>
                <a:gd name="T9" fmla="*/ 0 h 1196"/>
                <a:gd name="T10" fmla="*/ 414 w 484"/>
                <a:gd name="T11" fmla="*/ 0 h 1196"/>
                <a:gd name="T12" fmla="*/ 484 w 484"/>
                <a:gd name="T13" fmla="*/ 70 h 1196"/>
                <a:gd name="T14" fmla="*/ 484 w 484"/>
                <a:gd name="T15" fmla="*/ 1126 h 1196"/>
                <a:gd name="T16" fmla="*/ 414 w 484"/>
                <a:gd name="T17" fmla="*/ 1196 h 1196"/>
                <a:gd name="T18" fmla="*/ 140 w 484"/>
                <a:gd name="T19" fmla="*/ 1056 h 1196"/>
                <a:gd name="T20" fmla="*/ 344 w 484"/>
                <a:gd name="T21" fmla="*/ 1056 h 1196"/>
                <a:gd name="T22" fmla="*/ 344 w 484"/>
                <a:gd name="T23" fmla="*/ 140 h 1196"/>
                <a:gd name="T24" fmla="*/ 140 w 484"/>
                <a:gd name="T25" fmla="*/ 140 h 1196"/>
                <a:gd name="T26" fmla="*/ 140 w 484"/>
                <a:gd name="T27" fmla="*/ 1056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4" h="1196">
                  <a:moveTo>
                    <a:pt x="414" y="1196"/>
                  </a:moveTo>
                  <a:cubicBezTo>
                    <a:pt x="70" y="1196"/>
                    <a:pt x="70" y="1196"/>
                    <a:pt x="70" y="1196"/>
                  </a:cubicBezTo>
                  <a:cubicBezTo>
                    <a:pt x="31" y="1196"/>
                    <a:pt x="0" y="1165"/>
                    <a:pt x="0" y="1126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52" y="0"/>
                    <a:pt x="484" y="31"/>
                    <a:pt x="484" y="70"/>
                  </a:cubicBezTo>
                  <a:cubicBezTo>
                    <a:pt x="484" y="1126"/>
                    <a:pt x="484" y="1126"/>
                    <a:pt x="484" y="1126"/>
                  </a:cubicBezTo>
                  <a:cubicBezTo>
                    <a:pt x="484" y="1165"/>
                    <a:pt x="452" y="1196"/>
                    <a:pt x="414" y="1196"/>
                  </a:cubicBezTo>
                  <a:close/>
                  <a:moveTo>
                    <a:pt x="140" y="1056"/>
                  </a:moveTo>
                  <a:cubicBezTo>
                    <a:pt x="344" y="1056"/>
                    <a:pt x="344" y="1056"/>
                    <a:pt x="344" y="1056"/>
                  </a:cubicBezTo>
                  <a:cubicBezTo>
                    <a:pt x="344" y="140"/>
                    <a:pt x="344" y="140"/>
                    <a:pt x="344" y="140"/>
                  </a:cubicBezTo>
                  <a:cubicBezTo>
                    <a:pt x="140" y="140"/>
                    <a:pt x="140" y="140"/>
                    <a:pt x="140" y="140"/>
                  </a:cubicBezTo>
                  <a:lnTo>
                    <a:pt x="140" y="105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33" name="Freeform 15">
              <a:extLst>
                <a:ext uri="{FF2B5EF4-FFF2-40B4-BE49-F238E27FC236}">
                  <a16:creationId xmlns:a16="http://schemas.microsoft.com/office/drawing/2014/main" id="{6803184F-9003-4DB2-BDD6-8D4AD28B3D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8588" y="1547813"/>
              <a:ext cx="935038" cy="3046413"/>
            </a:xfrm>
            <a:custGeom>
              <a:avLst/>
              <a:gdLst>
                <a:gd name="T0" fmla="*/ 414 w 484"/>
                <a:gd name="T1" fmla="*/ 1574 h 1574"/>
                <a:gd name="T2" fmla="*/ 70 w 484"/>
                <a:gd name="T3" fmla="*/ 1574 h 1574"/>
                <a:gd name="T4" fmla="*/ 0 w 484"/>
                <a:gd name="T5" fmla="*/ 1504 h 1574"/>
                <a:gd name="T6" fmla="*/ 0 w 484"/>
                <a:gd name="T7" fmla="*/ 70 h 1574"/>
                <a:gd name="T8" fmla="*/ 70 w 484"/>
                <a:gd name="T9" fmla="*/ 0 h 1574"/>
                <a:gd name="T10" fmla="*/ 414 w 484"/>
                <a:gd name="T11" fmla="*/ 0 h 1574"/>
                <a:gd name="T12" fmla="*/ 484 w 484"/>
                <a:gd name="T13" fmla="*/ 70 h 1574"/>
                <a:gd name="T14" fmla="*/ 484 w 484"/>
                <a:gd name="T15" fmla="*/ 1504 h 1574"/>
                <a:gd name="T16" fmla="*/ 414 w 484"/>
                <a:gd name="T17" fmla="*/ 1574 h 1574"/>
                <a:gd name="T18" fmla="*/ 140 w 484"/>
                <a:gd name="T19" fmla="*/ 1434 h 1574"/>
                <a:gd name="T20" fmla="*/ 344 w 484"/>
                <a:gd name="T21" fmla="*/ 1434 h 1574"/>
                <a:gd name="T22" fmla="*/ 344 w 484"/>
                <a:gd name="T23" fmla="*/ 140 h 1574"/>
                <a:gd name="T24" fmla="*/ 140 w 484"/>
                <a:gd name="T25" fmla="*/ 140 h 1574"/>
                <a:gd name="T26" fmla="*/ 140 w 484"/>
                <a:gd name="T27" fmla="*/ 1434 h 1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4" h="1574">
                  <a:moveTo>
                    <a:pt x="414" y="1574"/>
                  </a:moveTo>
                  <a:cubicBezTo>
                    <a:pt x="70" y="1574"/>
                    <a:pt x="70" y="1574"/>
                    <a:pt x="70" y="1574"/>
                  </a:cubicBezTo>
                  <a:cubicBezTo>
                    <a:pt x="32" y="1574"/>
                    <a:pt x="0" y="1543"/>
                    <a:pt x="0" y="1504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31"/>
                    <a:pt x="32" y="0"/>
                    <a:pt x="70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53" y="0"/>
                    <a:pt x="484" y="31"/>
                    <a:pt x="484" y="70"/>
                  </a:cubicBezTo>
                  <a:cubicBezTo>
                    <a:pt x="484" y="1504"/>
                    <a:pt x="484" y="1504"/>
                    <a:pt x="484" y="1504"/>
                  </a:cubicBezTo>
                  <a:cubicBezTo>
                    <a:pt x="484" y="1543"/>
                    <a:pt x="453" y="1574"/>
                    <a:pt x="414" y="1574"/>
                  </a:cubicBezTo>
                  <a:close/>
                  <a:moveTo>
                    <a:pt x="140" y="1434"/>
                  </a:moveTo>
                  <a:cubicBezTo>
                    <a:pt x="344" y="1434"/>
                    <a:pt x="344" y="1434"/>
                    <a:pt x="344" y="1434"/>
                  </a:cubicBezTo>
                  <a:cubicBezTo>
                    <a:pt x="344" y="140"/>
                    <a:pt x="344" y="140"/>
                    <a:pt x="344" y="140"/>
                  </a:cubicBezTo>
                  <a:cubicBezTo>
                    <a:pt x="140" y="140"/>
                    <a:pt x="140" y="140"/>
                    <a:pt x="140" y="140"/>
                  </a:cubicBezTo>
                  <a:lnTo>
                    <a:pt x="140" y="14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0EFA3D4C-B2A4-4207-9684-0E4D21BE432F}"/>
              </a:ext>
            </a:extLst>
          </p:cNvPr>
          <p:cNvSpPr txBox="1"/>
          <p:nvPr/>
        </p:nvSpPr>
        <p:spPr>
          <a:xfrm>
            <a:off x="4772512" y="856179"/>
            <a:ext cx="4119620" cy="11503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Orchestrating the marketing ecosystem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Marketing ecosystem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Brand tribes</a:t>
            </a:r>
          </a:p>
          <a:p>
            <a:pPr lvl="1">
              <a:spcBef>
                <a:spcPct val="20000"/>
              </a:spcBef>
            </a:pPr>
            <a:r>
              <a:rPr lang="en-US" dirty="0"/>
              <a:t>New ventures</a:t>
            </a:r>
          </a:p>
        </p:txBody>
      </p:sp>
      <p:grpSp>
        <p:nvGrpSpPr>
          <p:cNvPr id="136" name="CustomIcon">
            <a:extLst>
              <a:ext uri="{FF2B5EF4-FFF2-40B4-BE49-F238E27FC236}">
                <a16:creationId xmlns:a16="http://schemas.microsoft.com/office/drawing/2014/main" id="{672D8BCC-C14D-45C7-8E0B-6BAC3454CDDA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193258" y="1058572"/>
            <a:ext cx="1088979" cy="952861"/>
            <a:chOff x="0" y="0"/>
            <a:chExt cx="6197600" cy="5422900"/>
          </a:xfrm>
          <a:solidFill>
            <a:schemeClr val="accent4"/>
          </a:solidFill>
        </p:grpSpPr>
        <p:sp>
          <p:nvSpPr>
            <p:cNvPr id="138" name="Freeform 19">
              <a:extLst>
                <a:ext uri="{FF2B5EF4-FFF2-40B4-BE49-F238E27FC236}">
                  <a16:creationId xmlns:a16="http://schemas.microsoft.com/office/drawing/2014/main" id="{38926309-F68C-465A-AA30-ED573CDAFC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6197600" cy="5422900"/>
            </a:xfrm>
            <a:custGeom>
              <a:avLst/>
              <a:gdLst>
                <a:gd name="T0" fmla="*/ 3136 w 3206"/>
                <a:gd name="T1" fmla="*/ 1666 h 2802"/>
                <a:gd name="T2" fmla="*/ 3025 w 3206"/>
                <a:gd name="T3" fmla="*/ 1666 h 2802"/>
                <a:gd name="T4" fmla="*/ 3025 w 3206"/>
                <a:gd name="T5" fmla="*/ 140 h 2802"/>
                <a:gd name="T6" fmla="*/ 3136 w 3206"/>
                <a:gd name="T7" fmla="*/ 140 h 2802"/>
                <a:gd name="T8" fmla="*/ 3206 w 3206"/>
                <a:gd name="T9" fmla="*/ 70 h 2802"/>
                <a:gd name="T10" fmla="*/ 3136 w 3206"/>
                <a:gd name="T11" fmla="*/ 0 h 2802"/>
                <a:gd name="T12" fmla="*/ 2955 w 3206"/>
                <a:gd name="T13" fmla="*/ 0 h 2802"/>
                <a:gd name="T14" fmla="*/ 338 w 3206"/>
                <a:gd name="T15" fmla="*/ 0 h 2802"/>
                <a:gd name="T16" fmla="*/ 70 w 3206"/>
                <a:gd name="T17" fmla="*/ 0 h 2802"/>
                <a:gd name="T18" fmla="*/ 0 w 3206"/>
                <a:gd name="T19" fmla="*/ 70 h 2802"/>
                <a:gd name="T20" fmla="*/ 70 w 3206"/>
                <a:gd name="T21" fmla="*/ 140 h 2802"/>
                <a:gd name="T22" fmla="*/ 268 w 3206"/>
                <a:gd name="T23" fmla="*/ 140 h 2802"/>
                <a:gd name="T24" fmla="*/ 268 w 3206"/>
                <a:gd name="T25" fmla="*/ 1666 h 2802"/>
                <a:gd name="T26" fmla="*/ 70 w 3206"/>
                <a:gd name="T27" fmla="*/ 1666 h 2802"/>
                <a:gd name="T28" fmla="*/ 0 w 3206"/>
                <a:gd name="T29" fmla="*/ 1736 h 2802"/>
                <a:gd name="T30" fmla="*/ 70 w 3206"/>
                <a:gd name="T31" fmla="*/ 1806 h 2802"/>
                <a:gd name="T32" fmla="*/ 338 w 3206"/>
                <a:gd name="T33" fmla="*/ 1806 h 2802"/>
                <a:gd name="T34" fmla="*/ 850 w 3206"/>
                <a:gd name="T35" fmla="*/ 1806 h 2802"/>
                <a:gd name="T36" fmla="*/ 666 w 3206"/>
                <a:gd name="T37" fmla="*/ 2718 h 2802"/>
                <a:gd name="T38" fmla="*/ 721 w 3206"/>
                <a:gd name="T39" fmla="*/ 2800 h 2802"/>
                <a:gd name="T40" fmla="*/ 735 w 3206"/>
                <a:gd name="T41" fmla="*/ 2802 h 2802"/>
                <a:gd name="T42" fmla="*/ 803 w 3206"/>
                <a:gd name="T43" fmla="*/ 2745 h 2802"/>
                <a:gd name="T44" fmla="*/ 993 w 3206"/>
                <a:gd name="T45" fmla="*/ 1806 h 2802"/>
                <a:gd name="T46" fmla="*/ 1576 w 3206"/>
                <a:gd name="T47" fmla="*/ 1806 h 2802"/>
                <a:gd name="T48" fmla="*/ 1576 w 3206"/>
                <a:gd name="T49" fmla="*/ 2087 h 2802"/>
                <a:gd name="T50" fmla="*/ 1646 w 3206"/>
                <a:gd name="T51" fmla="*/ 2157 h 2802"/>
                <a:gd name="T52" fmla="*/ 1716 w 3206"/>
                <a:gd name="T53" fmla="*/ 2087 h 2802"/>
                <a:gd name="T54" fmla="*/ 1716 w 3206"/>
                <a:gd name="T55" fmla="*/ 1806 h 2802"/>
                <a:gd name="T56" fmla="*/ 2300 w 3206"/>
                <a:gd name="T57" fmla="*/ 1806 h 2802"/>
                <a:gd name="T58" fmla="*/ 2490 w 3206"/>
                <a:gd name="T59" fmla="*/ 2745 h 2802"/>
                <a:gd name="T60" fmla="*/ 2558 w 3206"/>
                <a:gd name="T61" fmla="*/ 2802 h 2802"/>
                <a:gd name="T62" fmla="*/ 2572 w 3206"/>
                <a:gd name="T63" fmla="*/ 2800 h 2802"/>
                <a:gd name="T64" fmla="*/ 2627 w 3206"/>
                <a:gd name="T65" fmla="*/ 2718 h 2802"/>
                <a:gd name="T66" fmla="*/ 2443 w 3206"/>
                <a:gd name="T67" fmla="*/ 1806 h 2802"/>
                <a:gd name="T68" fmla="*/ 2955 w 3206"/>
                <a:gd name="T69" fmla="*/ 1806 h 2802"/>
                <a:gd name="T70" fmla="*/ 3136 w 3206"/>
                <a:gd name="T71" fmla="*/ 1806 h 2802"/>
                <a:gd name="T72" fmla="*/ 3206 w 3206"/>
                <a:gd name="T73" fmla="*/ 1736 h 2802"/>
                <a:gd name="T74" fmla="*/ 3136 w 3206"/>
                <a:gd name="T75" fmla="*/ 1666 h 2802"/>
                <a:gd name="T76" fmla="*/ 2357 w 3206"/>
                <a:gd name="T77" fmla="*/ 1666 h 2802"/>
                <a:gd name="T78" fmla="*/ 2357 w 3206"/>
                <a:gd name="T79" fmla="*/ 1666 h 2802"/>
                <a:gd name="T80" fmla="*/ 936 w 3206"/>
                <a:gd name="T81" fmla="*/ 1666 h 2802"/>
                <a:gd name="T82" fmla="*/ 935 w 3206"/>
                <a:gd name="T83" fmla="*/ 1666 h 2802"/>
                <a:gd name="T84" fmla="*/ 408 w 3206"/>
                <a:gd name="T85" fmla="*/ 1666 h 2802"/>
                <a:gd name="T86" fmla="*/ 408 w 3206"/>
                <a:gd name="T87" fmla="*/ 140 h 2802"/>
                <a:gd name="T88" fmla="*/ 2885 w 3206"/>
                <a:gd name="T89" fmla="*/ 140 h 2802"/>
                <a:gd name="T90" fmla="*/ 2885 w 3206"/>
                <a:gd name="T91" fmla="*/ 1666 h 2802"/>
                <a:gd name="T92" fmla="*/ 2357 w 3206"/>
                <a:gd name="T93" fmla="*/ 1666 h 2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6" h="2802">
                  <a:moveTo>
                    <a:pt x="3136" y="1666"/>
                  </a:moveTo>
                  <a:cubicBezTo>
                    <a:pt x="3025" y="1666"/>
                    <a:pt x="3025" y="1666"/>
                    <a:pt x="3025" y="1666"/>
                  </a:cubicBezTo>
                  <a:cubicBezTo>
                    <a:pt x="3025" y="140"/>
                    <a:pt x="3025" y="140"/>
                    <a:pt x="3025" y="140"/>
                  </a:cubicBezTo>
                  <a:cubicBezTo>
                    <a:pt x="3136" y="140"/>
                    <a:pt x="3136" y="140"/>
                    <a:pt x="3136" y="140"/>
                  </a:cubicBezTo>
                  <a:cubicBezTo>
                    <a:pt x="3175" y="140"/>
                    <a:pt x="3206" y="109"/>
                    <a:pt x="3206" y="70"/>
                  </a:cubicBezTo>
                  <a:cubicBezTo>
                    <a:pt x="3206" y="32"/>
                    <a:pt x="3175" y="0"/>
                    <a:pt x="3136" y="0"/>
                  </a:cubicBezTo>
                  <a:cubicBezTo>
                    <a:pt x="2955" y="0"/>
                    <a:pt x="2955" y="0"/>
                    <a:pt x="2955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9"/>
                    <a:pt x="31" y="140"/>
                    <a:pt x="70" y="140"/>
                  </a:cubicBezTo>
                  <a:cubicBezTo>
                    <a:pt x="268" y="140"/>
                    <a:pt x="268" y="140"/>
                    <a:pt x="268" y="140"/>
                  </a:cubicBezTo>
                  <a:cubicBezTo>
                    <a:pt x="268" y="1666"/>
                    <a:pt x="268" y="1666"/>
                    <a:pt x="268" y="1666"/>
                  </a:cubicBezTo>
                  <a:cubicBezTo>
                    <a:pt x="70" y="1666"/>
                    <a:pt x="70" y="1666"/>
                    <a:pt x="70" y="1666"/>
                  </a:cubicBezTo>
                  <a:cubicBezTo>
                    <a:pt x="31" y="1666"/>
                    <a:pt x="0" y="1698"/>
                    <a:pt x="0" y="1736"/>
                  </a:cubicBezTo>
                  <a:cubicBezTo>
                    <a:pt x="0" y="1775"/>
                    <a:pt x="31" y="1806"/>
                    <a:pt x="70" y="1806"/>
                  </a:cubicBezTo>
                  <a:cubicBezTo>
                    <a:pt x="338" y="1806"/>
                    <a:pt x="338" y="1806"/>
                    <a:pt x="338" y="1806"/>
                  </a:cubicBezTo>
                  <a:cubicBezTo>
                    <a:pt x="850" y="1806"/>
                    <a:pt x="850" y="1806"/>
                    <a:pt x="850" y="1806"/>
                  </a:cubicBezTo>
                  <a:cubicBezTo>
                    <a:pt x="666" y="2718"/>
                    <a:pt x="666" y="2718"/>
                    <a:pt x="666" y="2718"/>
                  </a:cubicBezTo>
                  <a:cubicBezTo>
                    <a:pt x="658" y="2756"/>
                    <a:pt x="683" y="2793"/>
                    <a:pt x="721" y="2800"/>
                  </a:cubicBezTo>
                  <a:cubicBezTo>
                    <a:pt x="725" y="2801"/>
                    <a:pt x="730" y="2802"/>
                    <a:pt x="735" y="2802"/>
                  </a:cubicBezTo>
                  <a:cubicBezTo>
                    <a:pt x="767" y="2802"/>
                    <a:pt x="796" y="2779"/>
                    <a:pt x="803" y="2745"/>
                  </a:cubicBezTo>
                  <a:cubicBezTo>
                    <a:pt x="993" y="1806"/>
                    <a:pt x="993" y="1806"/>
                    <a:pt x="993" y="1806"/>
                  </a:cubicBezTo>
                  <a:cubicBezTo>
                    <a:pt x="1576" y="1806"/>
                    <a:pt x="1576" y="1806"/>
                    <a:pt x="1576" y="1806"/>
                  </a:cubicBezTo>
                  <a:cubicBezTo>
                    <a:pt x="1576" y="2087"/>
                    <a:pt x="1576" y="2087"/>
                    <a:pt x="1576" y="2087"/>
                  </a:cubicBezTo>
                  <a:cubicBezTo>
                    <a:pt x="1576" y="2126"/>
                    <a:pt x="1608" y="2157"/>
                    <a:pt x="1646" y="2157"/>
                  </a:cubicBezTo>
                  <a:cubicBezTo>
                    <a:pt x="1685" y="2157"/>
                    <a:pt x="1716" y="2126"/>
                    <a:pt x="1716" y="2087"/>
                  </a:cubicBezTo>
                  <a:cubicBezTo>
                    <a:pt x="1716" y="1806"/>
                    <a:pt x="1716" y="1806"/>
                    <a:pt x="1716" y="1806"/>
                  </a:cubicBezTo>
                  <a:cubicBezTo>
                    <a:pt x="2300" y="1806"/>
                    <a:pt x="2300" y="1806"/>
                    <a:pt x="2300" y="1806"/>
                  </a:cubicBezTo>
                  <a:cubicBezTo>
                    <a:pt x="2490" y="2745"/>
                    <a:pt x="2490" y="2745"/>
                    <a:pt x="2490" y="2745"/>
                  </a:cubicBezTo>
                  <a:cubicBezTo>
                    <a:pt x="2496" y="2779"/>
                    <a:pt x="2526" y="2802"/>
                    <a:pt x="2558" y="2802"/>
                  </a:cubicBezTo>
                  <a:cubicBezTo>
                    <a:pt x="2563" y="2802"/>
                    <a:pt x="2567" y="2801"/>
                    <a:pt x="2572" y="2800"/>
                  </a:cubicBezTo>
                  <a:cubicBezTo>
                    <a:pt x="2610" y="2793"/>
                    <a:pt x="2635" y="2756"/>
                    <a:pt x="2627" y="2718"/>
                  </a:cubicBezTo>
                  <a:cubicBezTo>
                    <a:pt x="2443" y="1806"/>
                    <a:pt x="2443" y="1806"/>
                    <a:pt x="2443" y="1806"/>
                  </a:cubicBezTo>
                  <a:cubicBezTo>
                    <a:pt x="2955" y="1806"/>
                    <a:pt x="2955" y="1806"/>
                    <a:pt x="2955" y="1806"/>
                  </a:cubicBezTo>
                  <a:cubicBezTo>
                    <a:pt x="3136" y="1806"/>
                    <a:pt x="3136" y="1806"/>
                    <a:pt x="3136" y="1806"/>
                  </a:cubicBezTo>
                  <a:cubicBezTo>
                    <a:pt x="3175" y="1806"/>
                    <a:pt x="3206" y="1775"/>
                    <a:pt x="3206" y="1736"/>
                  </a:cubicBezTo>
                  <a:cubicBezTo>
                    <a:pt x="3206" y="1698"/>
                    <a:pt x="3175" y="1666"/>
                    <a:pt x="3136" y="1666"/>
                  </a:cubicBezTo>
                  <a:close/>
                  <a:moveTo>
                    <a:pt x="2357" y="1666"/>
                  </a:moveTo>
                  <a:cubicBezTo>
                    <a:pt x="2357" y="1666"/>
                    <a:pt x="2357" y="1666"/>
                    <a:pt x="2357" y="1666"/>
                  </a:cubicBezTo>
                  <a:cubicBezTo>
                    <a:pt x="936" y="1666"/>
                    <a:pt x="936" y="1666"/>
                    <a:pt x="936" y="1666"/>
                  </a:cubicBezTo>
                  <a:cubicBezTo>
                    <a:pt x="936" y="1666"/>
                    <a:pt x="936" y="1666"/>
                    <a:pt x="935" y="1666"/>
                  </a:cubicBezTo>
                  <a:cubicBezTo>
                    <a:pt x="408" y="1666"/>
                    <a:pt x="408" y="1666"/>
                    <a:pt x="408" y="1666"/>
                  </a:cubicBezTo>
                  <a:cubicBezTo>
                    <a:pt x="408" y="140"/>
                    <a:pt x="408" y="140"/>
                    <a:pt x="408" y="140"/>
                  </a:cubicBezTo>
                  <a:cubicBezTo>
                    <a:pt x="2885" y="140"/>
                    <a:pt x="2885" y="140"/>
                    <a:pt x="2885" y="140"/>
                  </a:cubicBezTo>
                  <a:cubicBezTo>
                    <a:pt x="2885" y="1666"/>
                    <a:pt x="2885" y="1666"/>
                    <a:pt x="2885" y="1666"/>
                  </a:cubicBezTo>
                  <a:lnTo>
                    <a:pt x="2357" y="16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39" name="Freeform 20">
              <a:extLst>
                <a:ext uri="{FF2B5EF4-FFF2-40B4-BE49-F238E27FC236}">
                  <a16:creationId xmlns:a16="http://schemas.microsoft.com/office/drawing/2014/main" id="{F6827948-39C9-4BE2-B213-CD0960B6B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713" y="881063"/>
              <a:ext cx="3835400" cy="1927225"/>
            </a:xfrm>
            <a:custGeom>
              <a:avLst/>
              <a:gdLst>
                <a:gd name="T0" fmla="*/ 1984 w 1984"/>
                <a:gd name="T1" fmla="*/ 64 h 996"/>
                <a:gd name="T2" fmla="*/ 1983 w 1984"/>
                <a:gd name="T3" fmla="*/ 58 h 996"/>
                <a:gd name="T4" fmla="*/ 1982 w 1984"/>
                <a:gd name="T5" fmla="*/ 52 h 996"/>
                <a:gd name="T6" fmla="*/ 1979 w 1984"/>
                <a:gd name="T7" fmla="*/ 44 h 996"/>
                <a:gd name="T8" fmla="*/ 1977 w 1984"/>
                <a:gd name="T9" fmla="*/ 39 h 996"/>
                <a:gd name="T10" fmla="*/ 1976 w 1984"/>
                <a:gd name="T11" fmla="*/ 36 h 996"/>
                <a:gd name="T12" fmla="*/ 1972 w 1984"/>
                <a:gd name="T13" fmla="*/ 31 h 996"/>
                <a:gd name="T14" fmla="*/ 1969 w 1984"/>
                <a:gd name="T15" fmla="*/ 26 h 996"/>
                <a:gd name="T16" fmla="*/ 1964 w 1984"/>
                <a:gd name="T17" fmla="*/ 20 h 996"/>
                <a:gd name="T18" fmla="*/ 1959 w 1984"/>
                <a:gd name="T19" fmla="*/ 16 h 996"/>
                <a:gd name="T20" fmla="*/ 1954 w 1984"/>
                <a:gd name="T21" fmla="*/ 12 h 996"/>
                <a:gd name="T22" fmla="*/ 1947 w 1984"/>
                <a:gd name="T23" fmla="*/ 8 h 996"/>
                <a:gd name="T24" fmla="*/ 1941 w 1984"/>
                <a:gd name="T25" fmla="*/ 5 h 996"/>
                <a:gd name="T26" fmla="*/ 1935 w 1984"/>
                <a:gd name="T27" fmla="*/ 3 h 996"/>
                <a:gd name="T28" fmla="*/ 1922 w 1984"/>
                <a:gd name="T29" fmla="*/ 0 h 996"/>
                <a:gd name="T30" fmla="*/ 1916 w 1984"/>
                <a:gd name="T31" fmla="*/ 0 h 996"/>
                <a:gd name="T32" fmla="*/ 1909 w 1984"/>
                <a:gd name="T33" fmla="*/ 0 h 996"/>
                <a:gd name="T34" fmla="*/ 1634 w 1984"/>
                <a:gd name="T35" fmla="*/ 25 h 996"/>
                <a:gd name="T36" fmla="*/ 1647 w 1984"/>
                <a:gd name="T37" fmla="*/ 165 h 996"/>
                <a:gd name="T38" fmla="*/ 1455 w 1984"/>
                <a:gd name="T39" fmla="*/ 450 h 996"/>
                <a:gd name="T40" fmla="*/ 1133 w 1984"/>
                <a:gd name="T41" fmla="*/ 64 h 996"/>
                <a:gd name="T42" fmla="*/ 810 w 1984"/>
                <a:gd name="T43" fmla="*/ 662 h 996"/>
                <a:gd name="T44" fmla="*/ 404 w 1984"/>
                <a:gd name="T45" fmla="*/ 442 h 996"/>
                <a:gd name="T46" fmla="*/ 33 w 1984"/>
                <a:gd name="T47" fmla="*/ 979 h 996"/>
                <a:gd name="T48" fmla="*/ 132 w 1984"/>
                <a:gd name="T49" fmla="*/ 972 h 996"/>
                <a:gd name="T50" fmla="*/ 794 w 1984"/>
                <a:gd name="T51" fmla="*/ 825 h 996"/>
                <a:gd name="T52" fmla="*/ 899 w 1984"/>
                <a:gd name="T53" fmla="*/ 799 h 996"/>
                <a:gd name="T54" fmla="*/ 1391 w 1984"/>
                <a:gd name="T55" fmla="*/ 600 h 996"/>
                <a:gd name="T56" fmla="*/ 1499 w 1984"/>
                <a:gd name="T57" fmla="*/ 607 h 996"/>
                <a:gd name="T58" fmla="*/ 1815 w 1984"/>
                <a:gd name="T59" fmla="*/ 320 h 996"/>
                <a:gd name="T60" fmla="*/ 1885 w 1984"/>
                <a:gd name="T61" fmla="*/ 398 h 996"/>
                <a:gd name="T62" fmla="*/ 1984 w 1984"/>
                <a:gd name="T63" fmla="*/ 77 h 996"/>
                <a:gd name="T64" fmla="*/ 1984 w 1984"/>
                <a:gd name="T65" fmla="*/ 71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84" h="996">
                  <a:moveTo>
                    <a:pt x="1984" y="70"/>
                  </a:moveTo>
                  <a:cubicBezTo>
                    <a:pt x="1984" y="68"/>
                    <a:pt x="1984" y="66"/>
                    <a:pt x="1984" y="64"/>
                  </a:cubicBezTo>
                  <a:cubicBezTo>
                    <a:pt x="1984" y="63"/>
                    <a:pt x="1984" y="63"/>
                    <a:pt x="1984" y="62"/>
                  </a:cubicBezTo>
                  <a:cubicBezTo>
                    <a:pt x="1984" y="60"/>
                    <a:pt x="1983" y="59"/>
                    <a:pt x="1983" y="58"/>
                  </a:cubicBezTo>
                  <a:cubicBezTo>
                    <a:pt x="1983" y="57"/>
                    <a:pt x="1983" y="56"/>
                    <a:pt x="1983" y="55"/>
                  </a:cubicBezTo>
                  <a:cubicBezTo>
                    <a:pt x="1982" y="54"/>
                    <a:pt x="1982" y="53"/>
                    <a:pt x="1982" y="52"/>
                  </a:cubicBezTo>
                  <a:cubicBezTo>
                    <a:pt x="1982" y="51"/>
                    <a:pt x="1981" y="50"/>
                    <a:pt x="1981" y="49"/>
                  </a:cubicBezTo>
                  <a:cubicBezTo>
                    <a:pt x="1981" y="48"/>
                    <a:pt x="1980" y="46"/>
                    <a:pt x="1979" y="44"/>
                  </a:cubicBezTo>
                  <a:cubicBezTo>
                    <a:pt x="1979" y="43"/>
                    <a:pt x="1979" y="42"/>
                    <a:pt x="1978" y="42"/>
                  </a:cubicBezTo>
                  <a:cubicBezTo>
                    <a:pt x="1978" y="41"/>
                    <a:pt x="1978" y="40"/>
                    <a:pt x="1977" y="39"/>
                  </a:cubicBezTo>
                  <a:cubicBezTo>
                    <a:pt x="1977" y="39"/>
                    <a:pt x="1977" y="39"/>
                    <a:pt x="1977" y="38"/>
                  </a:cubicBezTo>
                  <a:cubicBezTo>
                    <a:pt x="1976" y="37"/>
                    <a:pt x="1976" y="37"/>
                    <a:pt x="1976" y="36"/>
                  </a:cubicBezTo>
                  <a:cubicBezTo>
                    <a:pt x="1975" y="35"/>
                    <a:pt x="1974" y="34"/>
                    <a:pt x="1973" y="33"/>
                  </a:cubicBezTo>
                  <a:cubicBezTo>
                    <a:pt x="1973" y="32"/>
                    <a:pt x="1973" y="31"/>
                    <a:pt x="1972" y="31"/>
                  </a:cubicBezTo>
                  <a:cubicBezTo>
                    <a:pt x="1971" y="29"/>
                    <a:pt x="1970" y="28"/>
                    <a:pt x="1969" y="27"/>
                  </a:cubicBezTo>
                  <a:cubicBezTo>
                    <a:pt x="1969" y="26"/>
                    <a:pt x="1969" y="26"/>
                    <a:pt x="1969" y="26"/>
                  </a:cubicBezTo>
                  <a:cubicBezTo>
                    <a:pt x="1967" y="24"/>
                    <a:pt x="1966" y="23"/>
                    <a:pt x="1965" y="21"/>
                  </a:cubicBezTo>
                  <a:cubicBezTo>
                    <a:pt x="1964" y="21"/>
                    <a:pt x="1964" y="21"/>
                    <a:pt x="1964" y="20"/>
                  </a:cubicBezTo>
                  <a:cubicBezTo>
                    <a:pt x="1963" y="19"/>
                    <a:pt x="1961" y="18"/>
                    <a:pt x="1960" y="17"/>
                  </a:cubicBezTo>
                  <a:cubicBezTo>
                    <a:pt x="1960" y="17"/>
                    <a:pt x="1959" y="16"/>
                    <a:pt x="1959" y="16"/>
                  </a:cubicBezTo>
                  <a:cubicBezTo>
                    <a:pt x="1958" y="15"/>
                    <a:pt x="1957" y="14"/>
                    <a:pt x="1955" y="13"/>
                  </a:cubicBezTo>
                  <a:cubicBezTo>
                    <a:pt x="1955" y="13"/>
                    <a:pt x="1954" y="12"/>
                    <a:pt x="1954" y="12"/>
                  </a:cubicBezTo>
                  <a:cubicBezTo>
                    <a:pt x="1952" y="11"/>
                    <a:pt x="1951" y="10"/>
                    <a:pt x="1949" y="9"/>
                  </a:cubicBezTo>
                  <a:cubicBezTo>
                    <a:pt x="1949" y="9"/>
                    <a:pt x="1948" y="8"/>
                    <a:pt x="1947" y="8"/>
                  </a:cubicBezTo>
                  <a:cubicBezTo>
                    <a:pt x="1946" y="7"/>
                    <a:pt x="1945" y="7"/>
                    <a:pt x="1943" y="6"/>
                  </a:cubicBezTo>
                  <a:cubicBezTo>
                    <a:pt x="1942" y="6"/>
                    <a:pt x="1942" y="5"/>
                    <a:pt x="1941" y="5"/>
                  </a:cubicBezTo>
                  <a:cubicBezTo>
                    <a:pt x="1940" y="4"/>
                    <a:pt x="1938" y="4"/>
                    <a:pt x="1937" y="4"/>
                  </a:cubicBezTo>
                  <a:cubicBezTo>
                    <a:pt x="1936" y="3"/>
                    <a:pt x="1936" y="3"/>
                    <a:pt x="1935" y="3"/>
                  </a:cubicBezTo>
                  <a:cubicBezTo>
                    <a:pt x="1931" y="2"/>
                    <a:pt x="1927" y="1"/>
                    <a:pt x="1923" y="0"/>
                  </a:cubicBezTo>
                  <a:cubicBezTo>
                    <a:pt x="1922" y="0"/>
                    <a:pt x="1922" y="0"/>
                    <a:pt x="1922" y="0"/>
                  </a:cubicBezTo>
                  <a:cubicBezTo>
                    <a:pt x="1922" y="0"/>
                    <a:pt x="1921" y="0"/>
                    <a:pt x="1921" y="0"/>
                  </a:cubicBezTo>
                  <a:cubicBezTo>
                    <a:pt x="1919" y="0"/>
                    <a:pt x="1918" y="0"/>
                    <a:pt x="1916" y="0"/>
                  </a:cubicBezTo>
                  <a:cubicBezTo>
                    <a:pt x="1915" y="0"/>
                    <a:pt x="1915" y="0"/>
                    <a:pt x="1914" y="0"/>
                  </a:cubicBezTo>
                  <a:cubicBezTo>
                    <a:pt x="1913" y="0"/>
                    <a:pt x="1911" y="0"/>
                    <a:pt x="1909" y="0"/>
                  </a:cubicBezTo>
                  <a:cubicBezTo>
                    <a:pt x="1909" y="0"/>
                    <a:pt x="1908" y="0"/>
                    <a:pt x="1907" y="0"/>
                  </a:cubicBezTo>
                  <a:cubicBezTo>
                    <a:pt x="1634" y="25"/>
                    <a:pt x="1634" y="25"/>
                    <a:pt x="1634" y="25"/>
                  </a:cubicBezTo>
                  <a:cubicBezTo>
                    <a:pt x="1595" y="29"/>
                    <a:pt x="1567" y="63"/>
                    <a:pt x="1571" y="101"/>
                  </a:cubicBezTo>
                  <a:cubicBezTo>
                    <a:pt x="1574" y="140"/>
                    <a:pt x="1608" y="168"/>
                    <a:pt x="1647" y="165"/>
                  </a:cubicBezTo>
                  <a:cubicBezTo>
                    <a:pt x="1735" y="156"/>
                    <a:pt x="1735" y="156"/>
                    <a:pt x="1735" y="156"/>
                  </a:cubicBezTo>
                  <a:cubicBezTo>
                    <a:pt x="1455" y="450"/>
                    <a:pt x="1455" y="450"/>
                    <a:pt x="1455" y="450"/>
                  </a:cubicBezTo>
                  <a:cubicBezTo>
                    <a:pt x="1196" y="93"/>
                    <a:pt x="1196" y="93"/>
                    <a:pt x="1196" y="93"/>
                  </a:cubicBezTo>
                  <a:cubicBezTo>
                    <a:pt x="1181" y="73"/>
                    <a:pt x="1157" y="62"/>
                    <a:pt x="1133" y="64"/>
                  </a:cubicBezTo>
                  <a:cubicBezTo>
                    <a:pt x="1108" y="66"/>
                    <a:pt x="1087" y="81"/>
                    <a:pt x="1076" y="104"/>
                  </a:cubicBezTo>
                  <a:cubicBezTo>
                    <a:pt x="810" y="662"/>
                    <a:pt x="810" y="662"/>
                    <a:pt x="810" y="662"/>
                  </a:cubicBezTo>
                  <a:cubicBezTo>
                    <a:pt x="499" y="432"/>
                    <a:pt x="499" y="432"/>
                    <a:pt x="499" y="432"/>
                  </a:cubicBezTo>
                  <a:cubicBezTo>
                    <a:pt x="470" y="410"/>
                    <a:pt x="428" y="415"/>
                    <a:pt x="404" y="442"/>
                  </a:cubicBezTo>
                  <a:cubicBezTo>
                    <a:pt x="26" y="880"/>
                    <a:pt x="26" y="880"/>
                    <a:pt x="26" y="880"/>
                  </a:cubicBezTo>
                  <a:cubicBezTo>
                    <a:pt x="0" y="910"/>
                    <a:pt x="4" y="954"/>
                    <a:pt x="33" y="979"/>
                  </a:cubicBezTo>
                  <a:cubicBezTo>
                    <a:pt x="46" y="991"/>
                    <a:pt x="62" y="996"/>
                    <a:pt x="79" y="996"/>
                  </a:cubicBezTo>
                  <a:cubicBezTo>
                    <a:pt x="98" y="996"/>
                    <a:pt x="118" y="988"/>
                    <a:pt x="132" y="972"/>
                  </a:cubicBezTo>
                  <a:cubicBezTo>
                    <a:pt x="468" y="583"/>
                    <a:pt x="468" y="583"/>
                    <a:pt x="468" y="583"/>
                  </a:cubicBezTo>
                  <a:cubicBezTo>
                    <a:pt x="794" y="825"/>
                    <a:pt x="794" y="825"/>
                    <a:pt x="794" y="825"/>
                  </a:cubicBezTo>
                  <a:cubicBezTo>
                    <a:pt x="811" y="838"/>
                    <a:pt x="833" y="842"/>
                    <a:pt x="853" y="837"/>
                  </a:cubicBezTo>
                  <a:cubicBezTo>
                    <a:pt x="873" y="832"/>
                    <a:pt x="890" y="818"/>
                    <a:pt x="899" y="799"/>
                  </a:cubicBezTo>
                  <a:cubicBezTo>
                    <a:pt x="1152" y="270"/>
                    <a:pt x="1152" y="270"/>
                    <a:pt x="1152" y="270"/>
                  </a:cubicBezTo>
                  <a:cubicBezTo>
                    <a:pt x="1391" y="600"/>
                    <a:pt x="1391" y="600"/>
                    <a:pt x="1391" y="600"/>
                  </a:cubicBezTo>
                  <a:cubicBezTo>
                    <a:pt x="1404" y="617"/>
                    <a:pt x="1423" y="628"/>
                    <a:pt x="1443" y="629"/>
                  </a:cubicBezTo>
                  <a:cubicBezTo>
                    <a:pt x="1464" y="630"/>
                    <a:pt x="1484" y="622"/>
                    <a:pt x="1499" y="607"/>
                  </a:cubicBezTo>
                  <a:cubicBezTo>
                    <a:pt x="1821" y="269"/>
                    <a:pt x="1821" y="269"/>
                    <a:pt x="1821" y="269"/>
                  </a:cubicBezTo>
                  <a:cubicBezTo>
                    <a:pt x="1815" y="320"/>
                    <a:pt x="1815" y="320"/>
                    <a:pt x="1815" y="320"/>
                  </a:cubicBezTo>
                  <a:cubicBezTo>
                    <a:pt x="1811" y="359"/>
                    <a:pt x="1839" y="393"/>
                    <a:pt x="1877" y="398"/>
                  </a:cubicBezTo>
                  <a:cubicBezTo>
                    <a:pt x="1880" y="398"/>
                    <a:pt x="1883" y="398"/>
                    <a:pt x="1885" y="398"/>
                  </a:cubicBezTo>
                  <a:cubicBezTo>
                    <a:pt x="1920" y="398"/>
                    <a:pt x="1951" y="372"/>
                    <a:pt x="1955" y="336"/>
                  </a:cubicBezTo>
                  <a:cubicBezTo>
                    <a:pt x="1984" y="77"/>
                    <a:pt x="1984" y="77"/>
                    <a:pt x="1984" y="77"/>
                  </a:cubicBezTo>
                  <a:cubicBezTo>
                    <a:pt x="1984" y="77"/>
                    <a:pt x="1984" y="77"/>
                    <a:pt x="1984" y="77"/>
                  </a:cubicBezTo>
                  <a:cubicBezTo>
                    <a:pt x="1984" y="75"/>
                    <a:pt x="1984" y="73"/>
                    <a:pt x="1984" y="71"/>
                  </a:cubicBezTo>
                  <a:cubicBezTo>
                    <a:pt x="1984" y="71"/>
                    <a:pt x="1984" y="70"/>
                    <a:pt x="1984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1355650-2638-48A1-9A5F-28CF99BCB0E3}"/>
              </a:ext>
            </a:extLst>
          </p:cNvPr>
          <p:cNvSpPr>
            <a:spLocks/>
          </p:cNvSpPr>
          <p:nvPr/>
        </p:nvSpPr>
        <p:spPr bwMode="gray">
          <a:xfrm>
            <a:off x="6261499" y="4395317"/>
            <a:ext cx="776984" cy="492443"/>
          </a:xfrm>
          <a:prstGeom prst="rect">
            <a:avLst/>
          </a:prstGeom>
          <a:effectLst>
            <a:outerShdw blurRad="50800" dist="38100" dir="2700000" algn="tl" rotWithShape="0">
              <a:srgbClr val="FFFFFF">
                <a:alpha val="40000"/>
              </a:srgbClr>
            </a:outerShdw>
          </a:effectLst>
        </p:spPr>
        <p:txBody>
          <a:bodyPr wrap="square" lIns="0" tIns="0" rIns="0" bIns="0" anchor="ctr" anchorCtr="0">
            <a:spAutoFit/>
          </a:bodyPr>
          <a:lstStyle/>
          <a:p>
            <a:pPr marL="0" lvl="1">
              <a:defRPr/>
            </a:pPr>
            <a:r>
              <a:rPr lang="en-US" b="1" kern="0" dirty="0">
                <a:solidFill>
                  <a:schemeClr val="accent4"/>
                </a:solidFill>
                <a:latin typeface="+mn-lt"/>
              </a:rPr>
              <a:t>What </a:t>
            </a:r>
            <a:r>
              <a:rPr lang="en-US" kern="0" dirty="0">
                <a:latin typeface="+mn-lt"/>
              </a:rPr>
              <a:t>it </a:t>
            </a:r>
            <a:br>
              <a:rPr lang="en-US" kern="0" dirty="0">
                <a:latin typeface="+mn-lt"/>
              </a:rPr>
            </a:br>
            <a:r>
              <a:rPr lang="en-US" kern="0" dirty="0">
                <a:latin typeface="+mn-lt"/>
              </a:rPr>
              <a:t>can do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DD04516-CFE5-447B-BF8F-8BB9EF0C7BAC}"/>
              </a:ext>
            </a:extLst>
          </p:cNvPr>
          <p:cNvSpPr>
            <a:spLocks/>
          </p:cNvSpPr>
          <p:nvPr/>
        </p:nvSpPr>
        <p:spPr bwMode="gray">
          <a:xfrm>
            <a:off x="4617388" y="4395317"/>
            <a:ext cx="1145592" cy="492443"/>
          </a:xfrm>
          <a:prstGeom prst="rect">
            <a:avLst/>
          </a:prstGeom>
          <a:effectLst>
            <a:outerShdw blurRad="50800" dist="38100" dir="2700000" algn="tl" rotWithShape="0">
              <a:srgbClr val="FFFFFF">
                <a:alpha val="40000"/>
              </a:srgbClr>
            </a:outerShdw>
          </a:effectLst>
        </p:spPr>
        <p:txBody>
          <a:bodyPr wrap="square" lIns="0" tIns="0" rIns="0" bIns="0" anchor="ctr" anchorCtr="0">
            <a:spAutoFit/>
          </a:bodyPr>
          <a:lstStyle/>
          <a:p>
            <a:pPr marL="0" lvl="1">
              <a:defRPr/>
            </a:pPr>
            <a:r>
              <a:rPr lang="en-US" b="1" kern="0" dirty="0">
                <a:solidFill>
                  <a:schemeClr val="accent4"/>
                </a:solidFill>
                <a:latin typeface="+mn-lt"/>
              </a:rPr>
              <a:t>How</a:t>
            </a:r>
            <a:r>
              <a:rPr lang="en-US" kern="0" dirty="0">
                <a:latin typeface="+mn-lt"/>
              </a:rPr>
              <a:t> work </a:t>
            </a:r>
            <a:br>
              <a:rPr lang="en-US" kern="0" dirty="0">
                <a:latin typeface="+mn-lt"/>
              </a:rPr>
            </a:br>
            <a:r>
              <a:rPr lang="en-US" kern="0" dirty="0">
                <a:latin typeface="+mn-lt"/>
              </a:rPr>
              <a:t>gets don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677D88C-5BD4-40C3-8BA1-35CE8BFF9600}"/>
              </a:ext>
            </a:extLst>
          </p:cNvPr>
          <p:cNvSpPr>
            <a:spLocks/>
          </p:cNvSpPr>
          <p:nvPr/>
        </p:nvSpPr>
        <p:spPr bwMode="gray">
          <a:xfrm>
            <a:off x="5391734" y="3044907"/>
            <a:ext cx="1089224" cy="492443"/>
          </a:xfrm>
          <a:prstGeom prst="rect">
            <a:avLst/>
          </a:prstGeom>
          <a:effectLst>
            <a:outerShdw blurRad="50800" dist="38100" dir="2700000" algn="tl" rotWithShape="0">
              <a:srgbClr val="FFFFFF">
                <a:alpha val="40000"/>
              </a:srgbClr>
            </a:outerShdw>
          </a:effectLst>
        </p:spPr>
        <p:txBody>
          <a:bodyPr wrap="square" lIns="0" tIns="0" rIns="0" bIns="0" anchor="ctr" anchorCtr="0">
            <a:spAutoFit/>
          </a:bodyPr>
          <a:lstStyle/>
          <a:p>
            <a:pPr marL="0" lvl="1" algn="ctr">
              <a:defRPr/>
            </a:pPr>
            <a:r>
              <a:rPr lang="en-US" b="1" kern="0" dirty="0">
                <a:solidFill>
                  <a:schemeClr val="accent4"/>
                </a:solidFill>
                <a:latin typeface="+mn-lt"/>
              </a:rPr>
              <a:t>What</a:t>
            </a:r>
            <a:r>
              <a:rPr lang="en-US" kern="0" dirty="0">
                <a:latin typeface="+mn-lt"/>
              </a:rPr>
              <a:t> it </a:t>
            </a:r>
            <a:br>
              <a:rPr lang="en-US" kern="0" dirty="0">
                <a:latin typeface="+mn-lt"/>
              </a:rPr>
            </a:br>
            <a:r>
              <a:rPr lang="en-US" kern="0" dirty="0">
                <a:latin typeface="+mn-lt"/>
              </a:rPr>
              <a:t>looks like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2BD704F4-F48B-4A0C-82D8-A6258D3A68FE}"/>
              </a:ext>
            </a:extLst>
          </p:cNvPr>
          <p:cNvCxnSpPr/>
          <p:nvPr/>
        </p:nvCxnSpPr>
        <p:spPr>
          <a:xfrm flipV="1">
            <a:off x="5930672" y="4288838"/>
            <a:ext cx="0" cy="196206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id="{962121DC-9EFE-468B-B612-D94DFE6C1B62}"/>
              </a:ext>
            </a:extLst>
          </p:cNvPr>
          <p:cNvSpPr/>
          <p:nvPr/>
        </p:nvSpPr>
        <p:spPr>
          <a:xfrm>
            <a:off x="4150004" y="2026226"/>
            <a:ext cx="3572681" cy="1157872"/>
          </a:xfrm>
          <a:custGeom>
            <a:avLst/>
            <a:gdLst>
              <a:gd name="connsiteX0" fmla="*/ 1786367 w 3572734"/>
              <a:gd name="connsiteY0" fmla="*/ 0 h 1157889"/>
              <a:gd name="connsiteX1" fmla="*/ 3572734 w 3572734"/>
              <a:gd name="connsiteY1" fmla="*/ 893183 h 1157889"/>
              <a:gd name="connsiteX2" fmla="*/ 3185737 w 3572734"/>
              <a:gd name="connsiteY2" fmla="*/ 1157887 h 1157889"/>
              <a:gd name="connsiteX3" fmla="*/ 1786368 w 3572734"/>
              <a:gd name="connsiteY3" fmla="*/ 458203 h 1157889"/>
              <a:gd name="connsiteX4" fmla="*/ 386997 w 3572734"/>
              <a:gd name="connsiteY4" fmla="*/ 1157889 h 1157889"/>
              <a:gd name="connsiteX5" fmla="*/ 0 w 3572734"/>
              <a:gd name="connsiteY5" fmla="*/ 893184 h 1157889"/>
              <a:gd name="connsiteX6" fmla="*/ 1786367 w 3572734"/>
              <a:gd name="connsiteY6" fmla="*/ 0 h 1157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72734" h="1157889">
                <a:moveTo>
                  <a:pt x="1786367" y="0"/>
                </a:moveTo>
                <a:lnTo>
                  <a:pt x="3572734" y="893183"/>
                </a:lnTo>
                <a:lnTo>
                  <a:pt x="3185737" y="1157887"/>
                </a:lnTo>
                <a:lnTo>
                  <a:pt x="1786368" y="458203"/>
                </a:lnTo>
                <a:lnTo>
                  <a:pt x="386997" y="1157889"/>
                </a:lnTo>
                <a:lnTo>
                  <a:pt x="0" y="893184"/>
                </a:lnTo>
                <a:lnTo>
                  <a:pt x="1786367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E57F4D1C-62F3-4FCD-A118-60829997469B}"/>
              </a:ext>
            </a:extLst>
          </p:cNvPr>
          <p:cNvSpPr/>
          <p:nvPr/>
        </p:nvSpPr>
        <p:spPr>
          <a:xfrm>
            <a:off x="6036788" y="3124283"/>
            <a:ext cx="1742182" cy="3126616"/>
          </a:xfrm>
          <a:custGeom>
            <a:avLst/>
            <a:gdLst>
              <a:gd name="connsiteX0" fmla="*/ 1742208 w 1742208"/>
              <a:gd name="connsiteY0" fmla="*/ 0 h 3126663"/>
              <a:gd name="connsiteX1" fmla="*/ 1742208 w 1742208"/>
              <a:gd name="connsiteY1" fmla="*/ 2255559 h 3126663"/>
              <a:gd name="connsiteX2" fmla="*/ 0 w 1742208"/>
              <a:gd name="connsiteY2" fmla="*/ 3126663 h 3126663"/>
              <a:gd name="connsiteX3" fmla="*/ 0 w 1742208"/>
              <a:gd name="connsiteY3" fmla="*/ 2668461 h 3126663"/>
              <a:gd name="connsiteX4" fmla="*/ 1347206 w 1742208"/>
              <a:gd name="connsiteY4" fmla="*/ 1994857 h 3126663"/>
              <a:gd name="connsiteX5" fmla="*/ 1347206 w 1742208"/>
              <a:gd name="connsiteY5" fmla="*/ 270180 h 3126663"/>
              <a:gd name="connsiteX6" fmla="*/ 1742208 w 1742208"/>
              <a:gd name="connsiteY6" fmla="*/ 0 h 3126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2208" h="3126663">
                <a:moveTo>
                  <a:pt x="1742208" y="0"/>
                </a:moveTo>
                <a:lnTo>
                  <a:pt x="1742208" y="2255559"/>
                </a:lnTo>
                <a:lnTo>
                  <a:pt x="0" y="3126663"/>
                </a:lnTo>
                <a:lnTo>
                  <a:pt x="0" y="2668461"/>
                </a:lnTo>
                <a:lnTo>
                  <a:pt x="1347206" y="1994857"/>
                </a:lnTo>
                <a:lnTo>
                  <a:pt x="1347206" y="270180"/>
                </a:lnTo>
                <a:lnTo>
                  <a:pt x="1742208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E8EFE5DE-1267-4736-B15C-723FA5F93931}"/>
              </a:ext>
            </a:extLst>
          </p:cNvPr>
          <p:cNvSpPr/>
          <p:nvPr/>
        </p:nvSpPr>
        <p:spPr>
          <a:xfrm>
            <a:off x="4093718" y="3124283"/>
            <a:ext cx="1742182" cy="3126616"/>
          </a:xfrm>
          <a:custGeom>
            <a:avLst/>
            <a:gdLst>
              <a:gd name="connsiteX0" fmla="*/ 0 w 1742208"/>
              <a:gd name="connsiteY0" fmla="*/ 0 h 3126662"/>
              <a:gd name="connsiteX1" fmla="*/ 395003 w 1742208"/>
              <a:gd name="connsiteY1" fmla="*/ 270180 h 3126662"/>
              <a:gd name="connsiteX2" fmla="*/ 395003 w 1742208"/>
              <a:gd name="connsiteY2" fmla="*/ 1994855 h 3126662"/>
              <a:gd name="connsiteX3" fmla="*/ 1742208 w 1742208"/>
              <a:gd name="connsiteY3" fmla="*/ 2668458 h 3126662"/>
              <a:gd name="connsiteX4" fmla="*/ 1742208 w 1742208"/>
              <a:gd name="connsiteY4" fmla="*/ 3126662 h 3126662"/>
              <a:gd name="connsiteX5" fmla="*/ 0 w 1742208"/>
              <a:gd name="connsiteY5" fmla="*/ 2255557 h 3126662"/>
              <a:gd name="connsiteX6" fmla="*/ 0 w 1742208"/>
              <a:gd name="connsiteY6" fmla="*/ 0 h 312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2208" h="3126662">
                <a:moveTo>
                  <a:pt x="0" y="0"/>
                </a:moveTo>
                <a:lnTo>
                  <a:pt x="395003" y="270180"/>
                </a:lnTo>
                <a:lnTo>
                  <a:pt x="395003" y="1994855"/>
                </a:lnTo>
                <a:lnTo>
                  <a:pt x="1742208" y="2668458"/>
                </a:lnTo>
                <a:lnTo>
                  <a:pt x="1742208" y="3126662"/>
                </a:lnTo>
                <a:lnTo>
                  <a:pt x="0" y="225555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E0BA6795-59FC-4532-9434-ADBE5A9884F1}"/>
              </a:ext>
            </a:extLst>
          </p:cNvPr>
          <p:cNvCxnSpPr/>
          <p:nvPr/>
        </p:nvCxnSpPr>
        <p:spPr>
          <a:xfrm flipV="1">
            <a:off x="5930674" y="3009731"/>
            <a:ext cx="1835107" cy="127910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6F8EBA9E-FF75-4EC4-BA02-C55A17B210B0}"/>
              </a:ext>
            </a:extLst>
          </p:cNvPr>
          <p:cNvCxnSpPr/>
          <p:nvPr/>
        </p:nvCxnSpPr>
        <p:spPr>
          <a:xfrm>
            <a:off x="4090772" y="3008936"/>
            <a:ext cx="1839901" cy="127990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66E3A9A3-8D15-43BD-8B31-7308894938BD}"/>
              </a:ext>
            </a:extLst>
          </p:cNvPr>
          <p:cNvSpPr/>
          <p:nvPr/>
        </p:nvSpPr>
        <p:spPr>
          <a:xfrm>
            <a:off x="4509056" y="908458"/>
            <a:ext cx="231719" cy="231719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DE9A5FD7-0A5E-4977-A43B-B7F11ED69848}"/>
              </a:ext>
            </a:extLst>
          </p:cNvPr>
          <p:cNvSpPr/>
          <p:nvPr/>
        </p:nvSpPr>
        <p:spPr>
          <a:xfrm>
            <a:off x="4702915" y="1176368"/>
            <a:ext cx="231719" cy="231719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75FA8E24-6BB3-4C74-9CCC-C07505C9D06D}"/>
              </a:ext>
            </a:extLst>
          </p:cNvPr>
          <p:cNvSpPr/>
          <p:nvPr/>
        </p:nvSpPr>
        <p:spPr>
          <a:xfrm>
            <a:off x="4702915" y="1465881"/>
            <a:ext cx="231719" cy="231719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50DCE830-541F-4A67-A0D2-04114D1E36C6}"/>
              </a:ext>
            </a:extLst>
          </p:cNvPr>
          <p:cNvSpPr/>
          <p:nvPr/>
        </p:nvSpPr>
        <p:spPr>
          <a:xfrm>
            <a:off x="4702915" y="1745868"/>
            <a:ext cx="231719" cy="231719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BCC3D6BC-9277-479E-B5D0-C6A57F35F5D5}"/>
              </a:ext>
            </a:extLst>
          </p:cNvPr>
          <p:cNvSpPr/>
          <p:nvPr/>
        </p:nvSpPr>
        <p:spPr>
          <a:xfrm>
            <a:off x="227378" y="4071294"/>
            <a:ext cx="231719" cy="23171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C2833A0E-9A70-4373-8BE1-55D83E2CCD78}"/>
              </a:ext>
            </a:extLst>
          </p:cNvPr>
          <p:cNvSpPr/>
          <p:nvPr/>
        </p:nvSpPr>
        <p:spPr>
          <a:xfrm>
            <a:off x="425815" y="4592302"/>
            <a:ext cx="231719" cy="23171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EF1D3F1B-3A6D-4094-BD65-1A81235337A9}"/>
              </a:ext>
            </a:extLst>
          </p:cNvPr>
          <p:cNvSpPr/>
          <p:nvPr/>
        </p:nvSpPr>
        <p:spPr>
          <a:xfrm>
            <a:off x="425815" y="4921004"/>
            <a:ext cx="231719" cy="23171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D6BE9583-D47B-4DE3-97CE-34633D28866E}"/>
              </a:ext>
            </a:extLst>
          </p:cNvPr>
          <p:cNvSpPr/>
          <p:nvPr/>
        </p:nvSpPr>
        <p:spPr>
          <a:xfrm>
            <a:off x="425815" y="5394140"/>
            <a:ext cx="231719" cy="23171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9F1E7300-DCFC-4B92-A4B7-97F707062C86}"/>
              </a:ext>
            </a:extLst>
          </p:cNvPr>
          <p:cNvSpPr/>
          <p:nvPr/>
        </p:nvSpPr>
        <p:spPr>
          <a:xfrm>
            <a:off x="7988955" y="4078092"/>
            <a:ext cx="231719" cy="23171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693F07D7-798D-4428-9FA6-5D83FE092CD6}"/>
              </a:ext>
            </a:extLst>
          </p:cNvPr>
          <p:cNvSpPr/>
          <p:nvPr/>
        </p:nvSpPr>
        <p:spPr>
          <a:xfrm>
            <a:off x="8149292" y="4608595"/>
            <a:ext cx="231719" cy="23171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22702AD2-DB2F-45D8-A972-3289D727CF55}"/>
              </a:ext>
            </a:extLst>
          </p:cNvPr>
          <p:cNvSpPr/>
          <p:nvPr/>
        </p:nvSpPr>
        <p:spPr>
          <a:xfrm>
            <a:off x="8149292" y="4906926"/>
            <a:ext cx="231719" cy="23171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092F2A3A-4BF8-4186-AA0D-EABB8A37DEB4}"/>
              </a:ext>
            </a:extLst>
          </p:cNvPr>
          <p:cNvSpPr/>
          <p:nvPr/>
        </p:nvSpPr>
        <p:spPr>
          <a:xfrm>
            <a:off x="8149292" y="5201349"/>
            <a:ext cx="231719" cy="23171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3902972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416753"/>
              </p:ext>
            </p:extLst>
          </p:nvPr>
        </p:nvGraphicFramePr>
        <p:xfrm>
          <a:off x="1495493" y="1640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29" name="think-cell Slide" r:id="rId8" imgW="384" imgH="385" progId="TCLayout.ActiveDocument.1">
                  <p:embed/>
                </p:oleObj>
              </mc:Choice>
              <mc:Fallback>
                <p:oleObj name="think-cell Slide" r:id="rId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93" y="1640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65" y="554909"/>
            <a:ext cx="861841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GB" dirty="0"/>
              <a:t>Unit of mea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</p:spPr>
        <p:txBody>
          <a:bodyPr wrap="square" anchor="t" anchorCtr="0">
            <a:spAutoFit/>
          </a:bodyPr>
          <a:lstStyle/>
          <a:p>
            <a:r>
              <a:rPr lang="en-GB" dirty="0"/>
              <a:t>To do this, we follow a five-step process</a:t>
            </a:r>
            <a:endParaRPr lang="en-US" dirty="0"/>
          </a:p>
        </p:txBody>
      </p:sp>
      <p:sp>
        <p:nvSpPr>
          <p:cNvPr id="48" name="Rectangle: Rounded Corners 47"/>
          <p:cNvSpPr>
            <a:spLocks/>
          </p:cNvSpPr>
          <p:nvPr/>
        </p:nvSpPr>
        <p:spPr>
          <a:xfrm>
            <a:off x="158843" y="1865771"/>
            <a:ext cx="11491722" cy="42569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352" b="1" dirty="0">
              <a:solidFill>
                <a:schemeClr val="tx1"/>
              </a:solidFill>
            </a:endParaRPr>
          </a:p>
        </p:txBody>
      </p:sp>
      <p:sp>
        <p:nvSpPr>
          <p:cNvPr id="210" name="TextBox 209"/>
          <p:cNvSpPr txBox="1">
            <a:spLocks/>
          </p:cNvSpPr>
          <p:nvPr/>
        </p:nvSpPr>
        <p:spPr>
          <a:xfrm>
            <a:off x="219121" y="2375056"/>
            <a:ext cx="2079212" cy="4825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568" dirty="0"/>
              <a:t>Where do we want to be? </a:t>
            </a: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219121" y="1937848"/>
            <a:ext cx="2079212" cy="2815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dirty="0">
                <a:solidFill>
                  <a:schemeClr val="bg1"/>
                </a:solidFill>
                <a:ea typeface="+mj-ea"/>
                <a:cs typeface="+mj-cs"/>
              </a:rPr>
              <a:t>Aspire 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2713408" y="3086045"/>
            <a:ext cx="1797799" cy="16167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Current baseline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Strengths, gaps and opportunities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Benchmarks</a:t>
            </a:r>
            <a:endParaRPr lang="en-US" sz="1568" dirty="0">
              <a:solidFill>
                <a:schemeClr val="accent4"/>
              </a:solidFill>
            </a:endParaRPr>
          </a:p>
        </p:txBody>
      </p:sp>
      <p:sp>
        <p:nvSpPr>
          <p:cNvPr id="236" name="TextBox 235"/>
          <p:cNvSpPr txBox="1">
            <a:spLocks/>
          </p:cNvSpPr>
          <p:nvPr/>
        </p:nvSpPr>
        <p:spPr>
          <a:xfrm>
            <a:off x="4922585" y="3086044"/>
            <a:ext cx="2273185" cy="23045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Orchestrating the marketing ecosystem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Applying agile ways of working at scale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Build your marketing capabilities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Sign-off</a:t>
            </a:r>
            <a:endParaRPr lang="en-US" sz="1568" dirty="0">
              <a:solidFill>
                <a:schemeClr val="accent4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7610021" y="3086045"/>
            <a:ext cx="1718026" cy="23045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“From-to” mindsets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Roll out plan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Communi-cation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Support infrastructure</a:t>
            </a:r>
            <a:endParaRPr lang="en-US" sz="1568" dirty="0">
              <a:solidFill>
                <a:schemeClr val="accent4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9739427" y="3086045"/>
            <a:ext cx="1848271" cy="25458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Execution monitoring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Talent management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Business continuity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Employee engagement</a:t>
            </a:r>
            <a:endParaRPr lang="en-US" sz="1568" dirty="0">
              <a:solidFill>
                <a:schemeClr val="accent4"/>
              </a:solidFill>
            </a:endParaRPr>
          </a:p>
        </p:txBody>
      </p:sp>
      <p:cxnSp>
        <p:nvCxnSpPr>
          <p:cNvPr id="214" name="Straight Connector 213"/>
          <p:cNvCxnSpPr>
            <a:cxnSpLocks/>
          </p:cNvCxnSpPr>
          <p:nvPr/>
        </p:nvCxnSpPr>
        <p:spPr>
          <a:xfrm>
            <a:off x="2504022" y="2375057"/>
            <a:ext cx="0" cy="3244806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cxnSpLocks/>
          </p:cNvCxnSpPr>
          <p:nvPr/>
        </p:nvCxnSpPr>
        <p:spPr>
          <a:xfrm>
            <a:off x="4716895" y="2375057"/>
            <a:ext cx="0" cy="3244806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>
            <a:cxnSpLocks/>
          </p:cNvCxnSpPr>
          <p:nvPr/>
        </p:nvCxnSpPr>
        <p:spPr>
          <a:xfrm>
            <a:off x="7404331" y="2375057"/>
            <a:ext cx="0" cy="3244806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9533735" y="2375057"/>
            <a:ext cx="0" cy="3244806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4"/>
          <p:cNvSpPr txBox="1"/>
          <p:nvPr>
            <p:custDataLst>
              <p:tags r:id="rId4"/>
            </p:custDataLst>
          </p:nvPr>
        </p:nvSpPr>
        <p:spPr bwMode="gray">
          <a:xfrm>
            <a:off x="9137166" y="1475210"/>
            <a:ext cx="740587" cy="2412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de-DE" sz="1568" b="1" dirty="0">
                <a:solidFill>
                  <a:schemeClr val="accent4"/>
                </a:solidFill>
              </a:rPr>
              <a:t>“Day 1”</a:t>
            </a:r>
            <a:endParaRPr lang="en-GB" sz="1568" i="1" dirty="0">
              <a:solidFill>
                <a:schemeClr val="accent4"/>
              </a:solidFill>
            </a:endParaRPr>
          </a:p>
        </p:txBody>
      </p:sp>
      <p:sp>
        <p:nvSpPr>
          <p:cNvPr id="69" name="Rectangle 4"/>
          <p:cNvSpPr txBox="1"/>
          <p:nvPr>
            <p:custDataLst>
              <p:tags r:id="rId5"/>
            </p:custDataLst>
          </p:nvPr>
        </p:nvSpPr>
        <p:spPr bwMode="gray">
          <a:xfrm>
            <a:off x="7043580" y="1475210"/>
            <a:ext cx="796692" cy="2412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de-DE" sz="1568" b="1" dirty="0">
                <a:solidFill>
                  <a:schemeClr val="accent4"/>
                </a:solidFill>
              </a:rPr>
              <a:t>“Day 0” </a:t>
            </a:r>
            <a:endParaRPr lang="en-GB" sz="1568" i="1" dirty="0">
              <a:solidFill>
                <a:schemeClr val="accent4"/>
              </a:solidFill>
            </a:endParaRPr>
          </a:p>
        </p:txBody>
      </p:sp>
      <p:sp>
        <p:nvSpPr>
          <p:cNvPr id="90" name="Isosceles Triangle 89"/>
          <p:cNvSpPr>
            <a:spLocks/>
          </p:cNvSpPr>
          <p:nvPr/>
        </p:nvSpPr>
        <p:spPr bwMode="gray">
          <a:xfrm>
            <a:off x="9422438" y="1768374"/>
            <a:ext cx="170038" cy="67854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45" dirty="0">
              <a:solidFill>
                <a:schemeClr val="accent2"/>
              </a:solidFill>
            </a:endParaRPr>
          </a:p>
        </p:txBody>
      </p:sp>
      <p:sp>
        <p:nvSpPr>
          <p:cNvPr id="91" name="Isosceles Triangle 90"/>
          <p:cNvSpPr>
            <a:spLocks/>
          </p:cNvSpPr>
          <p:nvPr/>
        </p:nvSpPr>
        <p:spPr bwMode="gray">
          <a:xfrm>
            <a:off x="7356906" y="1768374"/>
            <a:ext cx="170038" cy="67854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45" dirty="0">
              <a:solidFill>
                <a:schemeClr val="accent2"/>
              </a:solidFill>
            </a:endParaRPr>
          </a:p>
        </p:txBody>
      </p:sp>
      <p:sp>
        <p:nvSpPr>
          <p:cNvPr id="228" name="TextBox 227"/>
          <p:cNvSpPr txBox="1">
            <a:spLocks/>
          </p:cNvSpPr>
          <p:nvPr/>
        </p:nvSpPr>
        <p:spPr>
          <a:xfrm>
            <a:off x="219121" y="3086045"/>
            <a:ext cx="2079212" cy="20632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Strategic requirements </a:t>
            </a:r>
            <a:br>
              <a:rPr lang="en-US" sz="1568" b="1" dirty="0">
                <a:solidFill>
                  <a:schemeClr val="accent4"/>
                </a:solidFill>
              </a:rPr>
            </a:br>
            <a:r>
              <a:rPr lang="en-US" sz="1568" b="1" dirty="0">
                <a:solidFill>
                  <a:schemeClr val="accent4"/>
                </a:solidFill>
              </a:rPr>
              <a:t>&amp; operating frame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Pain points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Design principles</a:t>
            </a:r>
          </a:p>
          <a:p>
            <a:pPr lvl="1">
              <a:spcBef>
                <a:spcPts val="1568"/>
              </a:spcBef>
            </a:pPr>
            <a:r>
              <a:rPr lang="en-US" sz="1568" b="1" dirty="0">
                <a:solidFill>
                  <a:schemeClr val="accent4"/>
                </a:solidFill>
              </a:rPr>
              <a:t>Engagement model</a:t>
            </a:r>
            <a:endParaRPr lang="en-US" sz="1568" dirty="0">
              <a:solidFill>
                <a:schemeClr val="accent4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87" y="1880643"/>
            <a:ext cx="395946" cy="39594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261" y="1880643"/>
            <a:ext cx="395946" cy="395946"/>
          </a:xfrm>
          <a:prstGeom prst="rect">
            <a:avLst/>
          </a:prstGeom>
        </p:spPr>
      </p:pic>
      <p:sp>
        <p:nvSpPr>
          <p:cNvPr id="211" name="TextBox 210"/>
          <p:cNvSpPr txBox="1">
            <a:spLocks/>
          </p:cNvSpPr>
          <p:nvPr/>
        </p:nvSpPr>
        <p:spPr>
          <a:xfrm>
            <a:off x="2713408" y="2375056"/>
            <a:ext cx="1797799" cy="4825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568" dirty="0"/>
              <a:t>Where are we today? </a:t>
            </a: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709714" y="1937848"/>
            <a:ext cx="1797799" cy="2815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dirty="0">
                <a:solidFill>
                  <a:schemeClr val="bg1"/>
                </a:solidFill>
                <a:ea typeface="+mj-ea"/>
                <a:cs typeface="+mj-cs"/>
              </a:rPr>
              <a:t>Assess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696" y="1880643"/>
            <a:ext cx="395946" cy="395946"/>
          </a:xfrm>
          <a:prstGeom prst="rect">
            <a:avLst/>
          </a:prstGeom>
        </p:spPr>
      </p:pic>
      <p:sp>
        <p:nvSpPr>
          <p:cNvPr id="212" name="TextBox 211"/>
          <p:cNvSpPr txBox="1">
            <a:spLocks/>
          </p:cNvSpPr>
          <p:nvPr/>
        </p:nvSpPr>
        <p:spPr>
          <a:xfrm>
            <a:off x="4922585" y="2375056"/>
            <a:ext cx="2273185" cy="4825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GB" sz="1568" dirty="0"/>
              <a:t>What are we going to put in place? </a:t>
            </a: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4925457" y="1937848"/>
            <a:ext cx="2273185" cy="2815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dirty="0">
                <a:solidFill>
                  <a:schemeClr val="bg1"/>
                </a:solidFill>
                <a:ea typeface="+mj-ea"/>
                <a:cs typeface="+mj-cs"/>
              </a:rPr>
              <a:t>Architect</a:t>
            </a:r>
          </a:p>
        </p:txBody>
      </p:sp>
      <p:sp>
        <p:nvSpPr>
          <p:cNvPr id="225" name="TextBox 224"/>
          <p:cNvSpPr txBox="1">
            <a:spLocks/>
          </p:cNvSpPr>
          <p:nvPr/>
        </p:nvSpPr>
        <p:spPr>
          <a:xfrm>
            <a:off x="7610021" y="2375056"/>
            <a:ext cx="1718026" cy="4825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568" dirty="0"/>
              <a:t>How should we </a:t>
            </a:r>
            <a:br>
              <a:rPr lang="en-US" sz="1568" dirty="0"/>
            </a:br>
            <a:r>
              <a:rPr lang="en-US" sz="1568" dirty="0"/>
              <a:t>move into action?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100" y="1880643"/>
            <a:ext cx="395946" cy="395946"/>
          </a:xfrm>
          <a:prstGeom prst="rect">
            <a:avLst/>
          </a:prstGeom>
        </p:spPr>
      </p:pic>
      <p:sp>
        <p:nvSpPr>
          <p:cNvPr id="58" name="TextBox 57"/>
          <p:cNvSpPr txBox="1">
            <a:spLocks/>
          </p:cNvSpPr>
          <p:nvPr/>
        </p:nvSpPr>
        <p:spPr>
          <a:xfrm>
            <a:off x="7610021" y="1937848"/>
            <a:ext cx="1718026" cy="2815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dirty="0">
                <a:solidFill>
                  <a:schemeClr val="bg1"/>
                </a:solidFill>
                <a:ea typeface="+mj-ea"/>
                <a:cs typeface="+mj-cs"/>
              </a:rPr>
              <a:t>Act</a:t>
            </a:r>
          </a:p>
        </p:txBody>
      </p:sp>
      <p:pic>
        <p:nvPicPr>
          <p:cNvPr id="53" name="Picture 52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1751" y="1895015"/>
            <a:ext cx="395946" cy="367204"/>
          </a:xfrm>
          <a:prstGeom prst="rect">
            <a:avLst/>
          </a:prstGeom>
        </p:spPr>
      </p:pic>
      <p:sp>
        <p:nvSpPr>
          <p:cNvPr id="226" name="TextBox 225"/>
          <p:cNvSpPr txBox="1">
            <a:spLocks/>
          </p:cNvSpPr>
          <p:nvPr/>
        </p:nvSpPr>
        <p:spPr>
          <a:xfrm>
            <a:off x="9739427" y="2375056"/>
            <a:ext cx="1848271" cy="4825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r>
              <a:rPr lang="en-US" sz="1568" dirty="0"/>
              <a:t>How will we manage the transition?</a:t>
            </a: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9739427" y="1937848"/>
            <a:ext cx="1848271" cy="2815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830" dirty="0">
                <a:solidFill>
                  <a:schemeClr val="bg1"/>
                </a:solidFill>
                <a:ea typeface="+mj-ea"/>
                <a:cs typeface="+mj-cs"/>
              </a:rPr>
              <a:t>Advance</a:t>
            </a:r>
          </a:p>
        </p:txBody>
      </p:sp>
      <p:sp>
        <p:nvSpPr>
          <p:cNvPr id="60" name="Chevron 59"/>
          <p:cNvSpPr/>
          <p:nvPr/>
        </p:nvSpPr>
        <p:spPr>
          <a:xfrm>
            <a:off x="2414708" y="1941536"/>
            <a:ext cx="178632" cy="274161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>
              <a:solidFill>
                <a:schemeClr val="tx1"/>
              </a:solidFill>
            </a:endParaRPr>
          </a:p>
        </p:txBody>
      </p:sp>
      <p:sp>
        <p:nvSpPr>
          <p:cNvPr id="61" name="Chevron 60"/>
          <p:cNvSpPr/>
          <p:nvPr/>
        </p:nvSpPr>
        <p:spPr>
          <a:xfrm>
            <a:off x="4627580" y="1941536"/>
            <a:ext cx="178632" cy="274161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>
              <a:solidFill>
                <a:schemeClr val="tx1"/>
              </a:solidFill>
            </a:endParaRPr>
          </a:p>
        </p:txBody>
      </p:sp>
      <p:sp>
        <p:nvSpPr>
          <p:cNvPr id="62" name="Chevron 61"/>
          <p:cNvSpPr/>
          <p:nvPr/>
        </p:nvSpPr>
        <p:spPr>
          <a:xfrm>
            <a:off x="7315016" y="1941536"/>
            <a:ext cx="178632" cy="274161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>
              <a:solidFill>
                <a:schemeClr val="tx1"/>
              </a:solidFill>
            </a:endParaRPr>
          </a:p>
        </p:txBody>
      </p:sp>
      <p:sp>
        <p:nvSpPr>
          <p:cNvPr id="63" name="Chevron 62"/>
          <p:cNvSpPr/>
          <p:nvPr/>
        </p:nvSpPr>
        <p:spPr>
          <a:xfrm>
            <a:off x="9444420" y="1941536"/>
            <a:ext cx="178632" cy="274161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>
              <a:solidFill>
                <a:schemeClr val="tx1"/>
              </a:solidFill>
            </a:endParaRPr>
          </a:p>
        </p:txBody>
      </p:sp>
      <p:grpSp>
        <p:nvGrpSpPr>
          <p:cNvPr id="33" name="sticker">
            <a:extLst>
              <a:ext uri="{FF2B5EF4-FFF2-40B4-BE49-F238E27FC236}">
                <a16:creationId xmlns:a16="http://schemas.microsoft.com/office/drawing/2014/main" id="{DF3D8428-B1E6-484B-8330-E4466A0EBC07}"/>
              </a:ext>
            </a:extLst>
          </p:cNvPr>
          <p:cNvGrpSpPr/>
          <p:nvPr/>
        </p:nvGrpSpPr>
        <p:grpSpPr>
          <a:xfrm>
            <a:off x="10917156" y="285796"/>
            <a:ext cx="733504" cy="159308"/>
            <a:chOff x="8354295" y="218666"/>
            <a:chExt cx="561310" cy="121910"/>
          </a:xfrm>
        </p:grpSpPr>
        <p:sp>
          <p:nvSpPr>
            <p:cNvPr id="68" name="StickerRectangle">
              <a:extLst>
                <a:ext uri="{FF2B5EF4-FFF2-40B4-BE49-F238E27FC236}">
                  <a16:creationId xmlns:a16="http://schemas.microsoft.com/office/drawing/2014/main" id="{94A319FE-D6F1-4549-AADF-46E1C5AFAE9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54295" y="218666"/>
              <a:ext cx="561310" cy="121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5847" tIns="0" rIns="0" bIns="35847">
              <a:spAutoFit/>
            </a:bodyPr>
            <a:lstStyle/>
            <a:p>
              <a:pPr algn="r" defTabSz="895317">
                <a:buClr>
                  <a:srgbClr val="002960"/>
                </a:buClr>
              </a:pPr>
              <a:r>
                <a:rPr lang="en-US" sz="800" dirty="0">
                  <a:solidFill>
                    <a:schemeClr val="accent6"/>
                  </a:solidFill>
                  <a:latin typeface="+mn-lt"/>
                </a:rPr>
                <a:t>PRELIMINARY</a:t>
              </a:r>
              <a:endParaRPr lang="x-none" sz="800" dirty="0">
                <a:solidFill>
                  <a:schemeClr val="accent6"/>
                </a:solidFill>
                <a:latin typeface="+mn-lt"/>
              </a:endParaRPr>
            </a:p>
          </p:txBody>
        </p:sp>
        <p:cxnSp>
          <p:nvCxnSpPr>
            <p:cNvPr id="70" name="AutoShape 31">
              <a:extLst>
                <a:ext uri="{FF2B5EF4-FFF2-40B4-BE49-F238E27FC236}">
                  <a16:creationId xmlns:a16="http://schemas.microsoft.com/office/drawing/2014/main" id="{3956A9E7-C031-4F6F-B91D-18675CE2F261}"/>
                </a:ext>
              </a:extLst>
            </p:cNvPr>
            <p:cNvCxnSpPr>
              <a:cxnSpLocks noChangeShapeType="1"/>
              <a:stCxn id="68" idx="2"/>
              <a:endCxn id="68" idx="4"/>
            </p:cNvCxnSpPr>
            <p:nvPr/>
          </p:nvCxnSpPr>
          <p:spPr bwMode="gray">
            <a:xfrm>
              <a:off x="8354295" y="218666"/>
              <a:ext cx="0" cy="12191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" name="AutoShape 32">
              <a:extLst>
                <a:ext uri="{FF2B5EF4-FFF2-40B4-BE49-F238E27FC236}">
                  <a16:creationId xmlns:a16="http://schemas.microsoft.com/office/drawing/2014/main" id="{DD984B76-DA0C-4F97-8558-D7E4F9041847}"/>
                </a:ext>
              </a:extLst>
            </p:cNvPr>
            <p:cNvCxnSpPr>
              <a:cxnSpLocks noChangeShapeType="1"/>
              <a:stCxn id="68" idx="4"/>
              <a:endCxn id="68" idx="6"/>
            </p:cNvCxnSpPr>
            <p:nvPr/>
          </p:nvCxnSpPr>
          <p:spPr bwMode="gray">
            <a:xfrm>
              <a:off x="8354295" y="340576"/>
              <a:ext cx="561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513789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969278"/>
              </p:ext>
            </p:extLst>
          </p:nvPr>
        </p:nvGraphicFramePr>
        <p:xfrm>
          <a:off x="1495493" y="1640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93" y="1640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gile Commercial Organization – service line overview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25159D0-ED35-4123-A50C-D6B418E49F7E}"/>
              </a:ext>
            </a:extLst>
          </p:cNvPr>
          <p:cNvSpPr>
            <a:spLocks/>
          </p:cNvSpPr>
          <p:nvPr/>
        </p:nvSpPr>
        <p:spPr>
          <a:xfrm>
            <a:off x="3495472" y="702793"/>
            <a:ext cx="8155177" cy="54734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03" b="1" dirty="0">
              <a:solidFill>
                <a:schemeClr val="tx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A442DB0-5CAA-4E68-A41D-38709B99A09C}"/>
              </a:ext>
            </a:extLst>
          </p:cNvPr>
          <p:cNvSpPr>
            <a:spLocks/>
          </p:cNvSpPr>
          <p:nvPr/>
        </p:nvSpPr>
        <p:spPr>
          <a:xfrm>
            <a:off x="158758" y="702793"/>
            <a:ext cx="3336713" cy="547346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outerShdw blurRad="50800" dist="38100" algn="l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03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EBFDEE-BBC9-470A-A5F4-6B3B80D9EEE7}"/>
              </a:ext>
            </a:extLst>
          </p:cNvPr>
          <p:cNvSpPr txBox="1"/>
          <p:nvPr/>
        </p:nvSpPr>
        <p:spPr>
          <a:xfrm>
            <a:off x="486464" y="813344"/>
            <a:ext cx="4027779" cy="3217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r>
              <a:rPr lang="en-US" sz="2091" b="1" dirty="0">
                <a:solidFill>
                  <a:schemeClr val="bg1"/>
                </a:solidFill>
              </a:rPr>
              <a:t>Plan for 2018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F6363D6-7B2B-464C-A80E-79D863236B81}"/>
              </a:ext>
            </a:extLst>
          </p:cNvPr>
          <p:cNvCxnSpPr>
            <a:cxnSpLocks/>
          </p:cNvCxnSpPr>
          <p:nvPr/>
        </p:nvCxnSpPr>
        <p:spPr>
          <a:xfrm>
            <a:off x="486464" y="1936481"/>
            <a:ext cx="11164185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7F00929-A1E1-41BB-90E0-4CE0C18FBB35}"/>
              </a:ext>
            </a:extLst>
          </p:cNvPr>
          <p:cNvCxnSpPr>
            <a:cxnSpLocks/>
          </p:cNvCxnSpPr>
          <p:nvPr/>
        </p:nvCxnSpPr>
        <p:spPr>
          <a:xfrm>
            <a:off x="486464" y="2668474"/>
            <a:ext cx="11164185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800727D-CF49-4146-96C9-3B90E88BFC4A}"/>
              </a:ext>
            </a:extLst>
          </p:cNvPr>
          <p:cNvCxnSpPr>
            <a:cxnSpLocks/>
          </p:cNvCxnSpPr>
          <p:nvPr/>
        </p:nvCxnSpPr>
        <p:spPr>
          <a:xfrm>
            <a:off x="486464" y="3400466"/>
            <a:ext cx="11164185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C76F7ED-152F-45DD-AFED-706EBE129F64}"/>
              </a:ext>
            </a:extLst>
          </p:cNvPr>
          <p:cNvCxnSpPr>
            <a:cxnSpLocks/>
          </p:cNvCxnSpPr>
          <p:nvPr/>
        </p:nvCxnSpPr>
        <p:spPr>
          <a:xfrm>
            <a:off x="486464" y="4132459"/>
            <a:ext cx="11164185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62F65D6-34B5-4ABB-BD83-CACEDB9AEDA5}"/>
              </a:ext>
            </a:extLst>
          </p:cNvPr>
          <p:cNvCxnSpPr>
            <a:cxnSpLocks/>
          </p:cNvCxnSpPr>
          <p:nvPr/>
        </p:nvCxnSpPr>
        <p:spPr>
          <a:xfrm>
            <a:off x="486464" y="4864452"/>
            <a:ext cx="11164185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D194188-377D-4AF4-A684-C7824951C09A}"/>
              </a:ext>
            </a:extLst>
          </p:cNvPr>
          <p:cNvCxnSpPr>
            <a:cxnSpLocks/>
          </p:cNvCxnSpPr>
          <p:nvPr/>
        </p:nvCxnSpPr>
        <p:spPr>
          <a:xfrm>
            <a:off x="486464" y="5857870"/>
            <a:ext cx="9223281" cy="0"/>
          </a:xfrm>
          <a:prstGeom prst="line">
            <a:avLst/>
          </a:prstGeom>
          <a:ln w="3175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06D04DA-ED95-4637-8ADF-C1DF5E66EBBF}"/>
              </a:ext>
            </a:extLst>
          </p:cNvPr>
          <p:cNvSpPr txBox="1">
            <a:spLocks/>
          </p:cNvSpPr>
          <p:nvPr/>
        </p:nvSpPr>
        <p:spPr>
          <a:xfrm>
            <a:off x="486463" y="1309058"/>
            <a:ext cx="11164185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Push Agile Marketing Organization content </a:t>
            </a:r>
            <a:r>
              <a:rPr lang="en-US" sz="1699" dirty="0">
                <a:solidFill>
                  <a:srgbClr val="000000"/>
                </a:solidFill>
              </a:rPr>
              <a:t>– Publish article in CE newsletter</a:t>
            </a:r>
            <a:endParaRPr lang="en-US" sz="1699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4BE7D8-8163-4623-8604-DAA26A6BFCCA}"/>
              </a:ext>
            </a:extLst>
          </p:cNvPr>
          <p:cNvSpPr txBox="1">
            <a:spLocks/>
          </p:cNvSpPr>
          <p:nvPr/>
        </p:nvSpPr>
        <p:spPr>
          <a:xfrm>
            <a:off x="486463" y="2041051"/>
            <a:ext cx="11164185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Reach and Relevance on existing content</a:t>
            </a:r>
            <a:r>
              <a:rPr lang="en-US" sz="1699" dirty="0">
                <a:solidFill>
                  <a:srgbClr val="000000"/>
                </a:solidFill>
              </a:rPr>
              <a:t> – conferences, events, LinkedIn videos</a:t>
            </a:r>
            <a:endParaRPr lang="en-US" sz="1699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065D08-E8FE-45B6-946F-8B9DC7EEF6AA}"/>
              </a:ext>
            </a:extLst>
          </p:cNvPr>
          <p:cNvSpPr txBox="1">
            <a:spLocks/>
          </p:cNvSpPr>
          <p:nvPr/>
        </p:nvSpPr>
        <p:spPr>
          <a:xfrm>
            <a:off x="486463" y="2773044"/>
            <a:ext cx="11164185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Expand to Sales Strategy and Sales </a:t>
            </a:r>
            <a:r>
              <a:rPr lang="en-US" sz="1699" dirty="0">
                <a:solidFill>
                  <a:srgbClr val="000000"/>
                </a:solidFill>
              </a:rPr>
              <a:t>– Draft perspective on Agile Sales Strategy and Agile Sales</a:t>
            </a:r>
            <a:endParaRPr lang="en-US" sz="1699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CCBDF8D-C046-41AD-B4F8-9352D7FD2D02}"/>
              </a:ext>
            </a:extLst>
          </p:cNvPr>
          <p:cNvSpPr txBox="1">
            <a:spLocks/>
          </p:cNvSpPr>
          <p:nvPr/>
        </p:nvSpPr>
        <p:spPr>
          <a:xfrm>
            <a:off x="486463" y="3505037"/>
            <a:ext cx="11164185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Leverage CEB </a:t>
            </a:r>
            <a:r>
              <a:rPr lang="en-US" sz="1699" dirty="0">
                <a:solidFill>
                  <a:srgbClr val="000000"/>
                </a:solidFill>
              </a:rPr>
              <a:t>– Analyze hot off the press data from Commercial Excellence Benchmarking</a:t>
            </a:r>
            <a:endParaRPr lang="en-US" sz="1699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141C79B-B47C-4FC5-ABE0-6749F40C0701}"/>
              </a:ext>
            </a:extLst>
          </p:cNvPr>
          <p:cNvSpPr txBox="1">
            <a:spLocks/>
          </p:cNvSpPr>
          <p:nvPr/>
        </p:nvSpPr>
        <p:spPr>
          <a:xfrm>
            <a:off x="486463" y="4237030"/>
            <a:ext cx="11164185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Be opportunistic</a:t>
            </a:r>
            <a:r>
              <a:rPr lang="en-US" sz="1699" dirty="0">
                <a:solidFill>
                  <a:srgbClr val="000000"/>
                </a:solidFill>
              </a:rPr>
              <a:t> – Pursue any leads from Commercial Excellence Roundtables and broader dissemination</a:t>
            </a:r>
            <a:endParaRPr lang="en-US" sz="1699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BE8C88B-878A-48A1-887C-D63D429DCA81}"/>
              </a:ext>
            </a:extLst>
          </p:cNvPr>
          <p:cNvSpPr txBox="1">
            <a:spLocks/>
          </p:cNvSpPr>
          <p:nvPr/>
        </p:nvSpPr>
        <p:spPr>
          <a:xfrm>
            <a:off x="486463" y="4969023"/>
            <a:ext cx="11164185" cy="5229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Codify, codify, codify </a:t>
            </a:r>
            <a:r>
              <a:rPr lang="en-US" sz="1699" dirty="0">
                <a:solidFill>
                  <a:srgbClr val="000000"/>
                </a:solidFill>
              </a:rPr>
              <a:t>– Capture the M&amp;S org work of the future we are doing at specific companies.  Let us know where else we are doing this work!</a:t>
            </a:r>
            <a:endParaRPr lang="en-US" sz="1699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977794-16BA-44F2-8456-3A943882E0F5}"/>
              </a:ext>
            </a:extLst>
          </p:cNvPr>
          <p:cNvSpPr txBox="1">
            <a:spLocks/>
          </p:cNvSpPr>
          <p:nvPr/>
        </p:nvSpPr>
        <p:spPr>
          <a:xfrm>
            <a:off x="486464" y="5962436"/>
            <a:ext cx="9418863" cy="2614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>
              <a:spcBef>
                <a:spcPct val="80000"/>
              </a:spcBef>
            </a:pPr>
            <a:r>
              <a:rPr lang="en-US" sz="1699" b="1" dirty="0">
                <a:solidFill>
                  <a:srgbClr val="002960"/>
                </a:solidFill>
              </a:rPr>
              <a:t>Prepare</a:t>
            </a:r>
            <a:r>
              <a:rPr lang="en-US" sz="1699" dirty="0">
                <a:solidFill>
                  <a:srgbClr val="000000"/>
                </a:solidFill>
              </a:rPr>
              <a:t> – Plan to launch KIP in January 2019 following CE roll-out</a:t>
            </a:r>
            <a:endParaRPr lang="en-US" sz="1699" dirty="0"/>
          </a:p>
        </p:txBody>
      </p:sp>
    </p:spTree>
    <p:extLst>
      <p:ext uri="{BB962C8B-B14F-4D97-AF65-F5344CB8AC3E}">
        <p14:creationId xmlns:p14="http://schemas.microsoft.com/office/powerpoint/2010/main" val="189594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5226B895-68DB-42C7-826A-49F8B57003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292148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77" name="think-cell Slide" r:id="rId32" imgW="473" imgH="473" progId="TCLayout.ActiveDocument.1">
                  <p:embed/>
                </p:oleObj>
              </mc:Choice>
              <mc:Fallback>
                <p:oleObj name="think-cell Slide" r:id="rId32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446C53-C6A3-4334-99AA-F3AE41060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Case study – The client identified world-leading marketing capabilities that were required in all team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616963" y="722581"/>
            <a:ext cx="4056291" cy="153888"/>
            <a:chOff x="7664176" y="466127"/>
            <a:chExt cx="4056350" cy="153892"/>
          </a:xfrm>
        </p:grpSpPr>
        <p:grpSp>
          <p:nvGrpSpPr>
            <p:cNvPr id="86" name="Group 85"/>
            <p:cNvGrpSpPr/>
            <p:nvPr/>
          </p:nvGrpSpPr>
          <p:grpSpPr>
            <a:xfrm>
              <a:off x="7664176" y="466127"/>
              <a:ext cx="657044" cy="153892"/>
              <a:chOff x="9476453" y="307133"/>
              <a:chExt cx="657044" cy="153892"/>
            </a:xfrm>
          </p:grpSpPr>
          <p:sp>
            <p:nvSpPr>
              <p:cNvPr id="110" name="RectangleLegend2"/>
              <p:cNvSpPr>
                <a:spLocks noChangeArrowheads="1"/>
              </p:cNvSpPr>
              <p:nvPr/>
            </p:nvSpPr>
            <p:spPr bwMode="gray">
              <a:xfrm>
                <a:off x="9476453" y="323845"/>
                <a:ext cx="124042" cy="120465"/>
              </a:xfrm>
              <a:prstGeom prst="rect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00" dirty="0">
                  <a:latin typeface="+mn-lt"/>
                </a:endParaRPr>
              </a:p>
            </p:txBody>
          </p:sp>
          <p:sp>
            <p:nvSpPr>
              <p:cNvPr id="114" name="Legend2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9671825" y="307133"/>
                <a:ext cx="461672" cy="1538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17">
                  <a:buClr>
                    <a:schemeClr val="tx2"/>
                  </a:buClr>
                </a:pPr>
                <a:r>
                  <a:rPr lang="en-US" sz="1000" dirty="0">
                    <a:latin typeface="+mn-lt"/>
                  </a:rPr>
                  <a:t>Current </a:t>
                </a:r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8450910" y="466127"/>
              <a:ext cx="1312680" cy="153892"/>
              <a:chOff x="10337985" y="303908"/>
              <a:chExt cx="1312680" cy="153892"/>
            </a:xfrm>
          </p:grpSpPr>
          <p:sp>
            <p:nvSpPr>
              <p:cNvPr id="112" name="RectangleLegend4"/>
              <p:cNvSpPr>
                <a:spLocks noChangeArrowheads="1"/>
              </p:cNvSpPr>
              <p:nvPr/>
            </p:nvSpPr>
            <p:spPr bwMode="gray">
              <a:xfrm>
                <a:off x="10337985" y="323845"/>
                <a:ext cx="124042" cy="120465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00" dirty="0">
                  <a:latin typeface="+mn-lt"/>
                </a:endParaRPr>
              </a:p>
            </p:txBody>
          </p:sp>
          <p:sp>
            <p:nvSpPr>
              <p:cNvPr id="116" name="Legend4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0533355" y="303908"/>
                <a:ext cx="1117310" cy="1538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17">
                  <a:buClr>
                    <a:schemeClr val="tx2"/>
                  </a:buClr>
                </a:pPr>
                <a:r>
                  <a:rPr lang="en-US" sz="1000" dirty="0">
                    <a:latin typeface="+mn-lt"/>
                  </a:rPr>
                  <a:t>Future (preliminary)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AE45D074-466D-4963-AA3C-27CCB7BECE1F}"/>
                </a:ext>
              </a:extLst>
            </p:cNvPr>
            <p:cNvGrpSpPr/>
            <p:nvPr/>
          </p:nvGrpSpPr>
          <p:grpSpPr>
            <a:xfrm>
              <a:off x="9893273" y="466127"/>
              <a:ext cx="1827253" cy="153892"/>
              <a:chOff x="9476453" y="307133"/>
              <a:chExt cx="1827253" cy="153892"/>
            </a:xfrm>
          </p:grpSpPr>
          <p:sp>
            <p:nvSpPr>
              <p:cNvPr id="132" name="RectangleLegend2">
                <a:extLst>
                  <a:ext uri="{FF2B5EF4-FFF2-40B4-BE49-F238E27FC236}">
                    <a16:creationId xmlns:a16="http://schemas.microsoft.com/office/drawing/2014/main" id="{73EF2772-0CA1-464C-B7F5-6293C57793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476453" y="323845"/>
                <a:ext cx="124042" cy="120465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5"/>
                </a:solidFill>
                <a:prstDash val="dash"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000" dirty="0">
                  <a:latin typeface="+mn-lt"/>
                </a:endParaRPr>
              </a:p>
            </p:txBody>
          </p:sp>
          <p:sp>
            <p:nvSpPr>
              <p:cNvPr id="133" name="Legend2">
                <a:extLst>
                  <a:ext uri="{FF2B5EF4-FFF2-40B4-BE49-F238E27FC236}">
                    <a16:creationId xmlns:a16="http://schemas.microsoft.com/office/drawing/2014/main" id="{B578BFC6-C864-44A9-9D14-E1139F4FCB0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9671825" y="307133"/>
                <a:ext cx="1631881" cy="1538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17">
                  <a:buClr>
                    <a:schemeClr val="tx2"/>
                  </a:buClr>
                </a:pPr>
                <a:r>
                  <a:rPr lang="en-US" sz="1000" dirty="0">
                    <a:latin typeface="+mn-lt"/>
                  </a:rPr>
                  <a:t>Future distinctive capabilities</a:t>
                </a:r>
              </a:p>
            </p:txBody>
          </p:sp>
        </p:grpSp>
      </p:grpSp>
      <p:sp>
        <p:nvSpPr>
          <p:cNvPr id="47" name="Rectangle 4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504087" y="1248041"/>
            <a:ext cx="918309" cy="52103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F0B3853-E73C-455E-8371-41A6764993A9}"/>
              </a:ext>
            </a:extLst>
          </p:cNvPr>
          <p:cNvCxnSpPr>
            <a:cxnSpLocks/>
          </p:cNvCxnSpPr>
          <p:nvPr/>
        </p:nvCxnSpPr>
        <p:spPr>
          <a:xfrm flipV="1">
            <a:off x="4117274" y="1248041"/>
            <a:ext cx="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3E083A2-9DC9-4734-8684-FD869B72DCE8}"/>
              </a:ext>
            </a:extLst>
          </p:cNvPr>
          <p:cNvCxnSpPr>
            <a:cxnSpLocks/>
          </p:cNvCxnSpPr>
          <p:nvPr/>
        </p:nvCxnSpPr>
        <p:spPr>
          <a:xfrm flipV="1">
            <a:off x="3886960" y="1248041"/>
            <a:ext cx="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96A818D-0F2C-48E4-A87C-D46DE562354D}"/>
              </a:ext>
            </a:extLst>
          </p:cNvPr>
          <p:cNvCxnSpPr>
            <a:cxnSpLocks/>
          </p:cNvCxnSpPr>
          <p:nvPr/>
        </p:nvCxnSpPr>
        <p:spPr>
          <a:xfrm flipV="1">
            <a:off x="3656646" y="1248041"/>
            <a:ext cx="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ACET">
            <a:extLst/>
          </p:cNvPr>
          <p:cNvSpPr>
            <a:spLocks noChangeArrowheads="1"/>
          </p:cNvSpPr>
          <p:nvPr/>
        </p:nvSpPr>
        <p:spPr bwMode="gray">
          <a:xfrm>
            <a:off x="3504086" y="1059703"/>
            <a:ext cx="74806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GB" sz="1100" dirty="0">
                <a:latin typeface="+mn-lt"/>
              </a:rPr>
              <a:t>1</a:t>
            </a:r>
          </a:p>
        </p:txBody>
      </p:sp>
      <p:sp>
        <p:nvSpPr>
          <p:cNvPr id="73" name="ACET">
            <a:extLst/>
          </p:cNvPr>
          <p:cNvSpPr>
            <a:spLocks noChangeArrowheads="1"/>
          </p:cNvSpPr>
          <p:nvPr/>
        </p:nvSpPr>
        <p:spPr bwMode="gray">
          <a:xfrm>
            <a:off x="3734400" y="1059703"/>
            <a:ext cx="74806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GB" sz="1100" dirty="0">
                <a:latin typeface="+mn-lt"/>
              </a:rPr>
              <a:t>2</a:t>
            </a:r>
          </a:p>
        </p:txBody>
      </p:sp>
      <p:sp>
        <p:nvSpPr>
          <p:cNvPr id="76" name="ACET">
            <a:extLst/>
          </p:cNvPr>
          <p:cNvSpPr>
            <a:spLocks noChangeArrowheads="1"/>
          </p:cNvSpPr>
          <p:nvPr/>
        </p:nvSpPr>
        <p:spPr bwMode="gray">
          <a:xfrm>
            <a:off x="3964715" y="1059703"/>
            <a:ext cx="74806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GB" sz="1100" dirty="0">
                <a:latin typeface="+mn-lt"/>
              </a:rPr>
              <a:t>3</a:t>
            </a:r>
          </a:p>
        </p:txBody>
      </p:sp>
      <p:sp>
        <p:nvSpPr>
          <p:cNvPr id="77" name="ACET">
            <a:extLst/>
          </p:cNvPr>
          <p:cNvSpPr>
            <a:spLocks noChangeArrowheads="1"/>
          </p:cNvSpPr>
          <p:nvPr/>
        </p:nvSpPr>
        <p:spPr bwMode="gray">
          <a:xfrm>
            <a:off x="4195029" y="1059703"/>
            <a:ext cx="74806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GB" sz="1100" dirty="0">
                <a:latin typeface="+mn-lt"/>
              </a:rPr>
              <a:t>4</a:t>
            </a:r>
          </a:p>
        </p:txBody>
      </p:sp>
      <p:sp>
        <p:nvSpPr>
          <p:cNvPr id="78" name="ACET">
            <a:extLst/>
          </p:cNvPr>
          <p:cNvSpPr>
            <a:spLocks noChangeArrowheads="1"/>
          </p:cNvSpPr>
          <p:nvPr/>
        </p:nvSpPr>
        <p:spPr bwMode="gray">
          <a:xfrm>
            <a:off x="4347590" y="1059703"/>
            <a:ext cx="74806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b">
            <a:spAutoFit/>
          </a:bodyPr>
          <a:lstStyle/>
          <a:p>
            <a:r>
              <a:rPr lang="en-GB" sz="1100" dirty="0">
                <a:latin typeface="+mn-lt"/>
              </a:rPr>
              <a:t>5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953937-9712-44E9-B0CD-B1790B02F83F}"/>
              </a:ext>
            </a:extLst>
          </p:cNvPr>
          <p:cNvCxnSpPr>
            <a:cxnSpLocks/>
          </p:cNvCxnSpPr>
          <p:nvPr/>
        </p:nvCxnSpPr>
        <p:spPr>
          <a:xfrm>
            <a:off x="1532466" y="1752776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/>
          </p:cNvPr>
          <p:cNvCxnSpPr>
            <a:cxnSpLocks/>
          </p:cNvCxnSpPr>
          <p:nvPr/>
        </p:nvCxnSpPr>
        <p:spPr>
          <a:xfrm>
            <a:off x="1532466" y="2804082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/>
          </p:cNvPr>
          <p:cNvCxnSpPr>
            <a:cxnSpLocks/>
          </p:cNvCxnSpPr>
          <p:nvPr/>
        </p:nvCxnSpPr>
        <p:spPr>
          <a:xfrm>
            <a:off x="1532466" y="4381042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/>
          </p:cNvPr>
          <p:cNvCxnSpPr>
            <a:cxnSpLocks/>
          </p:cNvCxnSpPr>
          <p:nvPr/>
        </p:nvCxnSpPr>
        <p:spPr>
          <a:xfrm>
            <a:off x="413692" y="6064804"/>
            <a:ext cx="9345190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904AC05F-8B3C-4318-A64F-5B22DAA31A9B}"/>
              </a:ext>
            </a:extLst>
          </p:cNvPr>
          <p:cNvCxnSpPr>
            <a:cxnSpLocks/>
          </p:cNvCxnSpPr>
          <p:nvPr/>
        </p:nvCxnSpPr>
        <p:spPr>
          <a:xfrm>
            <a:off x="1532466" y="3855389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F60D4DEF-E9DB-4914-8523-07B298009BD7}"/>
              </a:ext>
            </a:extLst>
          </p:cNvPr>
          <p:cNvCxnSpPr>
            <a:cxnSpLocks/>
          </p:cNvCxnSpPr>
          <p:nvPr/>
        </p:nvCxnSpPr>
        <p:spPr>
          <a:xfrm>
            <a:off x="1532466" y="3329735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33B80B7B-23F7-41E8-B3DA-A446D41D64A1}"/>
              </a:ext>
            </a:extLst>
          </p:cNvPr>
          <p:cNvCxnSpPr>
            <a:cxnSpLocks/>
          </p:cNvCxnSpPr>
          <p:nvPr/>
        </p:nvCxnSpPr>
        <p:spPr>
          <a:xfrm>
            <a:off x="1532466" y="4906694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33B0892E-5C4A-4DF5-871B-1947D803670B}"/>
              </a:ext>
            </a:extLst>
          </p:cNvPr>
          <p:cNvCxnSpPr>
            <a:cxnSpLocks/>
          </p:cNvCxnSpPr>
          <p:nvPr/>
        </p:nvCxnSpPr>
        <p:spPr>
          <a:xfrm>
            <a:off x="1532466" y="2278429"/>
            <a:ext cx="982544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33">
            <a:extLst>
              <a:ext uri="{FF2B5EF4-FFF2-40B4-BE49-F238E27FC236}">
                <a16:creationId xmlns:a16="http://schemas.microsoft.com/office/drawing/2014/main" id="{9F5D1AD2-D4D3-4799-B92E-A4650BA5B2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5453266"/>
            <a:ext cx="1906344" cy="274392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Functional support</a:t>
            </a:r>
          </a:p>
        </p:txBody>
      </p:sp>
      <p:sp>
        <p:nvSpPr>
          <p:cNvPr id="179" name="Rectangle 31">
            <a:extLst>
              <a:ext uri="{FF2B5EF4-FFF2-40B4-BE49-F238E27FC236}">
                <a16:creationId xmlns:a16="http://schemas.microsoft.com/office/drawing/2014/main" id="{C98EBF5F-F622-41B1-8BB6-23245555A3A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101027" y="5537347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5" name="Rectangle 31">
            <a:extLst>
              <a:ext uri="{FF2B5EF4-FFF2-40B4-BE49-F238E27FC236}">
                <a16:creationId xmlns:a16="http://schemas.microsoft.com/office/drawing/2014/main" id="{A927573E-0B51-41C5-858D-DFD0C71989A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129608" y="5537347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2BD21884-FD30-4DA9-B3C6-CC6B4B04579F}"/>
              </a:ext>
            </a:extLst>
          </p:cNvPr>
          <p:cNvCxnSpPr>
            <a:cxnSpLocks/>
            <a:stCxn id="158" idx="2"/>
            <a:endCxn id="168" idx="0"/>
          </p:cNvCxnSpPr>
          <p:nvPr/>
        </p:nvCxnSpPr>
        <p:spPr>
          <a:xfrm>
            <a:off x="4147488" y="1543065"/>
            <a:ext cx="262783" cy="419422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9CAE9CC9-5BAA-4524-A897-EA884F0189E2}"/>
              </a:ext>
            </a:extLst>
          </p:cNvPr>
          <p:cNvCxnSpPr>
            <a:cxnSpLocks/>
            <a:stCxn id="168" idx="2"/>
            <a:endCxn id="169" idx="0"/>
          </p:cNvCxnSpPr>
          <p:nvPr/>
        </p:nvCxnSpPr>
        <p:spPr>
          <a:xfrm flipH="1">
            <a:off x="4404109" y="2068718"/>
            <a:ext cx="6162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1F236699-CE74-4952-B3AC-27B4B993DA2B}"/>
              </a:ext>
            </a:extLst>
          </p:cNvPr>
          <p:cNvCxnSpPr>
            <a:cxnSpLocks/>
            <a:stCxn id="169" idx="2"/>
            <a:endCxn id="170" idx="0"/>
          </p:cNvCxnSpPr>
          <p:nvPr/>
        </p:nvCxnSpPr>
        <p:spPr>
          <a:xfrm flipH="1">
            <a:off x="4159965" y="2594371"/>
            <a:ext cx="244144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8C0DA72-1BE9-491B-8BCC-E86962DEA48A}"/>
              </a:ext>
            </a:extLst>
          </p:cNvPr>
          <p:cNvCxnSpPr>
            <a:cxnSpLocks/>
            <a:stCxn id="170" idx="2"/>
            <a:endCxn id="172" idx="0"/>
          </p:cNvCxnSpPr>
          <p:nvPr/>
        </p:nvCxnSpPr>
        <p:spPr>
          <a:xfrm>
            <a:off x="4159965" y="3120025"/>
            <a:ext cx="259650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CFB6D28D-43FF-4FC7-914C-0425394E761D}"/>
              </a:ext>
            </a:extLst>
          </p:cNvPr>
          <p:cNvCxnSpPr>
            <a:cxnSpLocks/>
            <a:stCxn id="172" idx="2"/>
            <a:endCxn id="171" idx="0"/>
          </p:cNvCxnSpPr>
          <p:nvPr/>
        </p:nvCxnSpPr>
        <p:spPr>
          <a:xfrm flipH="1">
            <a:off x="4417872" y="3645678"/>
            <a:ext cx="1744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5F47E429-59B2-41C1-A968-058B55549C1E}"/>
              </a:ext>
            </a:extLst>
          </p:cNvPr>
          <p:cNvCxnSpPr>
            <a:cxnSpLocks/>
            <a:stCxn id="171" idx="2"/>
            <a:endCxn id="173" idx="0"/>
          </p:cNvCxnSpPr>
          <p:nvPr/>
        </p:nvCxnSpPr>
        <p:spPr>
          <a:xfrm flipH="1">
            <a:off x="4155667" y="4171331"/>
            <a:ext cx="262205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BE442106-5894-4648-BB62-B7F252703DF9}"/>
              </a:ext>
            </a:extLst>
          </p:cNvPr>
          <p:cNvCxnSpPr>
            <a:cxnSpLocks/>
            <a:stCxn id="173" idx="2"/>
            <a:endCxn id="174" idx="0"/>
          </p:cNvCxnSpPr>
          <p:nvPr/>
        </p:nvCxnSpPr>
        <p:spPr>
          <a:xfrm>
            <a:off x="4155666" y="4696984"/>
            <a:ext cx="0" cy="419421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B149686E-292D-4806-B0A1-83A16483DA6E}"/>
              </a:ext>
            </a:extLst>
          </p:cNvPr>
          <p:cNvCxnSpPr>
            <a:cxnSpLocks/>
            <a:stCxn id="174" idx="2"/>
            <a:endCxn id="175" idx="0"/>
          </p:cNvCxnSpPr>
          <p:nvPr/>
        </p:nvCxnSpPr>
        <p:spPr>
          <a:xfrm>
            <a:off x="4155666" y="5222638"/>
            <a:ext cx="31723" cy="314708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CF617010-02E0-4D89-84F9-5FFC4A78A259}"/>
              </a:ext>
            </a:extLst>
          </p:cNvPr>
          <p:cNvCxnSpPr>
            <a:cxnSpLocks/>
            <a:stCxn id="175" idx="2"/>
            <a:endCxn id="178" idx="0"/>
          </p:cNvCxnSpPr>
          <p:nvPr/>
        </p:nvCxnSpPr>
        <p:spPr>
          <a:xfrm>
            <a:off x="4187388" y="5643579"/>
            <a:ext cx="0" cy="209994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76B3AEB0-BDBC-47F2-9C90-F85F4DED9208}"/>
              </a:ext>
            </a:extLst>
          </p:cNvPr>
          <p:cNvCxnSpPr>
            <a:cxnSpLocks/>
            <a:stCxn id="178" idx="2"/>
            <a:endCxn id="177" idx="0"/>
          </p:cNvCxnSpPr>
          <p:nvPr/>
        </p:nvCxnSpPr>
        <p:spPr>
          <a:xfrm flipH="1">
            <a:off x="4155666" y="5959805"/>
            <a:ext cx="31723" cy="259134"/>
          </a:xfrm>
          <a:prstGeom prst="lin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74E7A64F-BCC6-4647-ACC5-9CF9ED70FEA4}"/>
              </a:ext>
            </a:extLst>
          </p:cNvPr>
          <p:cNvCxnSpPr>
            <a:cxnSpLocks/>
            <a:stCxn id="157" idx="2"/>
            <a:endCxn id="159" idx="0"/>
          </p:cNvCxnSpPr>
          <p:nvPr/>
        </p:nvCxnSpPr>
        <p:spPr>
          <a:xfrm>
            <a:off x="3718289" y="1543065"/>
            <a:ext cx="0" cy="419422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D2D84C4F-9A24-4F43-9767-8E518866CFB3}"/>
              </a:ext>
            </a:extLst>
          </p:cNvPr>
          <p:cNvCxnSpPr>
            <a:cxnSpLocks/>
            <a:stCxn id="159" idx="2"/>
            <a:endCxn id="160" idx="0"/>
          </p:cNvCxnSpPr>
          <p:nvPr/>
        </p:nvCxnSpPr>
        <p:spPr>
          <a:xfrm>
            <a:off x="3718289" y="2068718"/>
            <a:ext cx="0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91B4A0E5-1599-4370-9944-BFC78FF9F89B}"/>
              </a:ext>
            </a:extLst>
          </p:cNvPr>
          <p:cNvCxnSpPr>
            <a:cxnSpLocks/>
            <a:stCxn id="160" idx="2"/>
            <a:endCxn id="161" idx="0"/>
          </p:cNvCxnSpPr>
          <p:nvPr/>
        </p:nvCxnSpPr>
        <p:spPr>
          <a:xfrm>
            <a:off x="3718289" y="2594371"/>
            <a:ext cx="223806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C665FD3F-B7B7-48FA-8DFC-536191FDE170}"/>
              </a:ext>
            </a:extLst>
          </p:cNvPr>
          <p:cNvCxnSpPr>
            <a:cxnSpLocks/>
            <a:stCxn id="161" idx="2"/>
            <a:endCxn id="162" idx="0"/>
          </p:cNvCxnSpPr>
          <p:nvPr/>
        </p:nvCxnSpPr>
        <p:spPr>
          <a:xfrm flipH="1">
            <a:off x="3715664" y="3120025"/>
            <a:ext cx="226430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F04775DC-4633-43E4-8CCB-AB42547AC7FE}"/>
              </a:ext>
            </a:extLst>
          </p:cNvPr>
          <p:cNvCxnSpPr>
            <a:cxnSpLocks/>
            <a:stCxn id="162" idx="2"/>
            <a:endCxn id="163" idx="0"/>
          </p:cNvCxnSpPr>
          <p:nvPr/>
        </p:nvCxnSpPr>
        <p:spPr>
          <a:xfrm>
            <a:off x="3715664" y="3645678"/>
            <a:ext cx="0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C2B0E625-CE51-4E45-BACE-D5897A6A4293}"/>
              </a:ext>
            </a:extLst>
          </p:cNvPr>
          <p:cNvCxnSpPr>
            <a:cxnSpLocks/>
            <a:stCxn id="163" idx="2"/>
            <a:endCxn id="164" idx="0"/>
          </p:cNvCxnSpPr>
          <p:nvPr/>
        </p:nvCxnSpPr>
        <p:spPr>
          <a:xfrm>
            <a:off x="3715664" y="4171331"/>
            <a:ext cx="226430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009D57C6-F1ED-4A1D-9F32-B8998471FA8D}"/>
              </a:ext>
            </a:extLst>
          </p:cNvPr>
          <p:cNvCxnSpPr>
            <a:cxnSpLocks/>
            <a:stCxn id="164" idx="2"/>
            <a:endCxn id="165" idx="0"/>
          </p:cNvCxnSpPr>
          <p:nvPr/>
        </p:nvCxnSpPr>
        <p:spPr>
          <a:xfrm>
            <a:off x="3942094" y="4696984"/>
            <a:ext cx="0" cy="41942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51392BF2-F080-4310-9EA4-C45953F16045}"/>
              </a:ext>
            </a:extLst>
          </p:cNvPr>
          <p:cNvCxnSpPr>
            <a:cxnSpLocks/>
            <a:stCxn id="165" idx="2"/>
            <a:endCxn id="179" idx="0"/>
          </p:cNvCxnSpPr>
          <p:nvPr/>
        </p:nvCxnSpPr>
        <p:spPr>
          <a:xfrm>
            <a:off x="3942094" y="5222638"/>
            <a:ext cx="216714" cy="31470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8721C4A0-8EBE-4F09-BAD6-408B8D954156}"/>
              </a:ext>
            </a:extLst>
          </p:cNvPr>
          <p:cNvCxnSpPr>
            <a:cxnSpLocks/>
            <a:stCxn id="179" idx="2"/>
            <a:endCxn id="166" idx="0"/>
          </p:cNvCxnSpPr>
          <p:nvPr/>
        </p:nvCxnSpPr>
        <p:spPr>
          <a:xfrm>
            <a:off x="4158807" y="5643579"/>
            <a:ext cx="0" cy="20999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D16167D8-94B8-4303-A527-063230B04B09}"/>
              </a:ext>
            </a:extLst>
          </p:cNvPr>
          <p:cNvCxnSpPr>
            <a:cxnSpLocks/>
            <a:stCxn id="166" idx="2"/>
            <a:endCxn id="167" idx="0"/>
          </p:cNvCxnSpPr>
          <p:nvPr/>
        </p:nvCxnSpPr>
        <p:spPr>
          <a:xfrm flipH="1">
            <a:off x="3945371" y="5959805"/>
            <a:ext cx="213436" cy="25913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99AB8971-60CB-4426-9A9C-8C001F6FEBC2}"/>
              </a:ext>
            </a:extLst>
          </p:cNvPr>
          <p:cNvCxnSpPr>
            <a:cxnSpLocks/>
          </p:cNvCxnSpPr>
          <p:nvPr/>
        </p:nvCxnSpPr>
        <p:spPr>
          <a:xfrm>
            <a:off x="4557583" y="1229898"/>
            <a:ext cx="680032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E7FF7D29-5B98-4584-A6AB-20C1AE259CF7}"/>
              </a:ext>
            </a:extLst>
          </p:cNvPr>
          <p:cNvCxnSpPr>
            <a:cxnSpLocks/>
          </p:cNvCxnSpPr>
          <p:nvPr/>
        </p:nvCxnSpPr>
        <p:spPr>
          <a:xfrm>
            <a:off x="1532466" y="5748575"/>
            <a:ext cx="288540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6DCEA7A1-215D-41FD-AAC6-480A45F53EE3}"/>
              </a:ext>
            </a:extLst>
          </p:cNvPr>
          <p:cNvCxnSpPr>
            <a:cxnSpLocks/>
          </p:cNvCxnSpPr>
          <p:nvPr/>
        </p:nvCxnSpPr>
        <p:spPr>
          <a:xfrm>
            <a:off x="1532466" y="5432347"/>
            <a:ext cx="2885404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tangle 31">
            <a:extLst>
              <a:ext uri="{FF2B5EF4-FFF2-40B4-BE49-F238E27FC236}">
                <a16:creationId xmlns:a16="http://schemas.microsoft.com/office/drawing/2014/main" id="{F8994FED-E26D-4636-81AA-883841FBF91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657883" y="3539446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2" name="Rectangle 31">
            <a:extLst>
              <a:ext uri="{FF2B5EF4-FFF2-40B4-BE49-F238E27FC236}">
                <a16:creationId xmlns:a16="http://schemas.microsoft.com/office/drawing/2014/main" id="{5C3929C7-C79A-463E-806C-AE0F4FC4531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361833" y="3539446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4" name="Rectangle 33">
            <a:extLst>
              <a:ext uri="{FF2B5EF4-FFF2-40B4-BE49-F238E27FC236}">
                <a16:creationId xmlns:a16="http://schemas.microsoft.com/office/drawing/2014/main" id="{F003936D-AC90-458C-BA98-2347590FC2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3350653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Product/service portfolio management and innova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57584" y="3350654"/>
            <a:ext cx="6800327" cy="1612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4"/>
                </a:solidFill>
              </a:rPr>
              <a:t>Build rapid-cycle innovation </a:t>
            </a:r>
            <a:r>
              <a:rPr lang="en-US" sz="1100" dirty="0"/>
              <a:t>around a stable core</a:t>
            </a:r>
          </a:p>
        </p:txBody>
      </p:sp>
      <p:sp>
        <p:nvSpPr>
          <p:cNvPr id="165" name="Rectangle 31">
            <a:extLst>
              <a:ext uri="{FF2B5EF4-FFF2-40B4-BE49-F238E27FC236}">
                <a16:creationId xmlns:a16="http://schemas.microsoft.com/office/drawing/2014/main" id="{983271F6-B8C9-4133-B437-4855A8DD90D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884313" y="5116406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4" name="Rectangle 31">
            <a:extLst>
              <a:ext uri="{FF2B5EF4-FFF2-40B4-BE49-F238E27FC236}">
                <a16:creationId xmlns:a16="http://schemas.microsoft.com/office/drawing/2014/main" id="{5CFC5DD5-C43F-41F9-B93F-04992404D5D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097885" y="5116406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5" name="Rectangle 33">
            <a:extLst>
              <a:ext uri="{FF2B5EF4-FFF2-40B4-BE49-F238E27FC236}">
                <a16:creationId xmlns:a16="http://schemas.microsoft.com/office/drawing/2014/main" id="{DF498CCA-BBED-4D17-89A0-9661DE7C0C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4927613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Pricing and network revenue optimiza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57584" y="4927613"/>
            <a:ext cx="6800327" cy="322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4"/>
                </a:solidFill>
              </a:rPr>
              <a:t>Treat pricing and discount management as a science</a:t>
            </a:r>
            <a:r>
              <a:rPr lang="en-US" sz="1100" dirty="0"/>
              <a:t>, tailored through machine learning and advanced analytics</a:t>
            </a:r>
          </a:p>
        </p:txBody>
      </p:sp>
      <p:sp>
        <p:nvSpPr>
          <p:cNvPr id="161" name="Rectangle 31">
            <a:extLst>
              <a:ext uri="{FF2B5EF4-FFF2-40B4-BE49-F238E27FC236}">
                <a16:creationId xmlns:a16="http://schemas.microsoft.com/office/drawing/2014/main" id="{CACD3C16-70BF-4FF6-B410-33B6C039E95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884313" y="3013793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0" name="Rectangle 31">
            <a:extLst>
              <a:ext uri="{FF2B5EF4-FFF2-40B4-BE49-F238E27FC236}">
                <a16:creationId xmlns:a16="http://schemas.microsoft.com/office/drawing/2014/main" id="{3F3523C4-69BB-443B-A1EF-9B00E1022FA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102184" y="3013793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3" name="Rectangle 33">
            <a:extLst>
              <a:ext uri="{FF2B5EF4-FFF2-40B4-BE49-F238E27FC236}">
                <a16:creationId xmlns:a16="http://schemas.microsoft.com/office/drawing/2014/main" id="{4D538F01-7276-4729-8546-F86EB0259A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2825000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Marketing communications and management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557584" y="2825000"/>
            <a:ext cx="6800327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4"/>
                </a:solidFill>
              </a:rPr>
              <a:t>Emphasise an omnichannel approach</a:t>
            </a:r>
            <a:r>
              <a:rPr lang="en-US" sz="1100" dirty="0"/>
              <a:t> to brand building with a stronger focus on digital channels</a:t>
            </a:r>
          </a:p>
        </p:txBody>
      </p:sp>
      <p:sp>
        <p:nvSpPr>
          <p:cNvPr id="163" name="Rectangle 31">
            <a:extLst>
              <a:ext uri="{FF2B5EF4-FFF2-40B4-BE49-F238E27FC236}">
                <a16:creationId xmlns:a16="http://schemas.microsoft.com/office/drawing/2014/main" id="{8F877131-BA08-49D3-BAED-B046B0C030B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657883" y="4065099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1" name="Rectangle 31">
            <a:extLst>
              <a:ext uri="{FF2B5EF4-FFF2-40B4-BE49-F238E27FC236}">
                <a16:creationId xmlns:a16="http://schemas.microsoft.com/office/drawing/2014/main" id="{5C4F3C30-2BF8-4E76-B18E-8590049364F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4360090" y="4065099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9" name="Rectangle 33">
            <a:extLst>
              <a:ext uri="{FF2B5EF4-FFF2-40B4-BE49-F238E27FC236}">
                <a16:creationId xmlns:a16="http://schemas.microsoft.com/office/drawing/2014/main" id="{ED3E36A8-9A09-42BB-AC79-5085477CAE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3876306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Customer experience desig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557584" y="3876307"/>
            <a:ext cx="6800327" cy="1612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Focus on distinctive customer experiences </a:t>
            </a:r>
            <a:r>
              <a:rPr lang="en-US" sz="1100" b="1" dirty="0">
                <a:solidFill>
                  <a:schemeClr val="accent4"/>
                </a:solidFill>
              </a:rPr>
              <a:t>across the whole customer journey</a:t>
            </a:r>
          </a:p>
        </p:txBody>
      </p:sp>
      <p:sp>
        <p:nvSpPr>
          <p:cNvPr id="167" name="Rectangle 31">
            <a:extLst>
              <a:ext uri="{FF2B5EF4-FFF2-40B4-BE49-F238E27FC236}">
                <a16:creationId xmlns:a16="http://schemas.microsoft.com/office/drawing/2014/main" id="{14F4B425-D776-4219-92D1-196BD15A0D1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3887590" y="6218941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7" name="Rectangle 31">
            <a:extLst>
              <a:ext uri="{FF2B5EF4-FFF2-40B4-BE49-F238E27FC236}">
                <a16:creationId xmlns:a16="http://schemas.microsoft.com/office/drawing/2014/main" id="{A698B9B4-6D65-44A6-B954-EF4D4260B1B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097885" y="6218941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E72BAD-DD7E-4FF1-BD30-98B6EF6E2A6B}"/>
              </a:ext>
            </a:extLst>
          </p:cNvPr>
          <p:cNvSpPr>
            <a:spLocks/>
          </p:cNvSpPr>
          <p:nvPr/>
        </p:nvSpPr>
        <p:spPr bwMode="gray">
          <a:xfrm>
            <a:off x="413692" y="6085712"/>
            <a:ext cx="1053498" cy="37269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wrap="square" lIns="35999" rIns="35999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b="1" kern="0" dirty="0">
                <a:solidFill>
                  <a:schemeClr val="bg1"/>
                </a:solidFill>
                <a:latin typeface="+mn-lt"/>
                <a:ea typeface="ＭＳ Ｐゴシック"/>
              </a:rPr>
              <a:t>Ways of working</a:t>
            </a:r>
          </a:p>
        </p:txBody>
      </p:sp>
      <p:sp>
        <p:nvSpPr>
          <p:cNvPr id="128" name="Rectangle 33">
            <a:extLst>
              <a:ext uri="{FF2B5EF4-FFF2-40B4-BE49-F238E27FC236}">
                <a16:creationId xmlns:a16="http://schemas.microsoft.com/office/drawing/2014/main" id="{9898230F-A2F4-4D1E-BCC8-0EBA15F5F4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6085712"/>
            <a:ext cx="1906344" cy="37269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Ways of workin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557584" y="6085712"/>
            <a:ext cx="5133368" cy="3224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Work in a more </a:t>
            </a:r>
            <a:r>
              <a:rPr lang="en-US" sz="1100" b="1" dirty="0">
                <a:solidFill>
                  <a:schemeClr val="accent4"/>
                </a:solidFill>
              </a:rPr>
              <a:t>collaborative way across functions and regions </a:t>
            </a:r>
            <a:r>
              <a:rPr lang="en-US" sz="1100" dirty="0"/>
              <a:t>with reduced handovers</a:t>
            </a:r>
          </a:p>
        </p:txBody>
      </p:sp>
      <p:sp>
        <p:nvSpPr>
          <p:cNvPr id="164" name="Rectangle 31">
            <a:extLst>
              <a:ext uri="{FF2B5EF4-FFF2-40B4-BE49-F238E27FC236}">
                <a16:creationId xmlns:a16="http://schemas.microsoft.com/office/drawing/2014/main" id="{8294A633-217A-42DF-B0ED-CD90B76956F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3884313" y="4590753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3" name="Rectangle 31">
            <a:extLst>
              <a:ext uri="{FF2B5EF4-FFF2-40B4-BE49-F238E27FC236}">
                <a16:creationId xmlns:a16="http://schemas.microsoft.com/office/drawing/2014/main" id="{BEFF45D2-3FF6-44C7-815A-50446FBD788B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097885" y="4590753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7" name="Rectangle 33">
            <a:extLst>
              <a:ext uri="{FF2B5EF4-FFF2-40B4-BE49-F238E27FC236}">
                <a16:creationId xmlns:a16="http://schemas.microsoft.com/office/drawing/2014/main" id="{AEE0EF92-7A8D-45ED-A2AB-80A9681DBF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4401959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Partner network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557584" y="4401959"/>
            <a:ext cx="6800327" cy="1612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Grow an ecosystem of partners with </a:t>
            </a:r>
            <a:r>
              <a:rPr lang="en-US" sz="1100" b="1" dirty="0">
                <a:solidFill>
                  <a:schemeClr val="accent4"/>
                </a:solidFill>
              </a:rPr>
              <a:t>specialist capabilities </a:t>
            </a:r>
            <a:r>
              <a:rPr lang="en-US" sz="1100" dirty="0"/>
              <a:t>in marketing and innovation</a:t>
            </a:r>
          </a:p>
        </p:txBody>
      </p:sp>
      <p:sp>
        <p:nvSpPr>
          <p:cNvPr id="160" name="Rectangle 31">
            <a:extLst>
              <a:ext uri="{FF2B5EF4-FFF2-40B4-BE49-F238E27FC236}">
                <a16:creationId xmlns:a16="http://schemas.microsoft.com/office/drawing/2014/main" id="{6957B820-B8CE-4C7C-90F5-4C28E2E5EB8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3660507" y="2488140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69" name="Rectangle 31">
            <a:extLst>
              <a:ext uri="{FF2B5EF4-FFF2-40B4-BE49-F238E27FC236}">
                <a16:creationId xmlns:a16="http://schemas.microsoft.com/office/drawing/2014/main" id="{68F91C10-343D-4B17-BC84-01A1B96173DD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346328" y="2488140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6" name="Rectangle 33">
            <a:extLst>
              <a:ext uri="{FF2B5EF4-FFF2-40B4-BE49-F238E27FC236}">
                <a16:creationId xmlns:a16="http://schemas.microsoft.com/office/drawing/2014/main" id="{208C8FEF-38BD-4373-A1F4-79BA5D898F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2299347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b="1" kern="0" dirty="0">
                <a:solidFill>
                  <a:schemeClr val="bg1"/>
                </a:solidFill>
                <a:latin typeface="+mn-lt"/>
                <a:ea typeface="ＭＳ Ｐゴシック"/>
              </a:rPr>
              <a:t>Customer differentiation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4557584" y="2299347"/>
            <a:ext cx="6800327" cy="16121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dirty="0"/>
              <a:t>Design customer journeys that are </a:t>
            </a:r>
            <a:r>
              <a:rPr lang="en-US" sz="1100" b="1" dirty="0">
                <a:solidFill>
                  <a:schemeClr val="accent4"/>
                </a:solidFill>
              </a:rPr>
              <a:t>differentiated by customer segment </a:t>
            </a:r>
            <a:r>
              <a:rPr lang="en-US" sz="1100" dirty="0"/>
              <a:t>to support marketing and sales</a:t>
            </a:r>
          </a:p>
        </p:txBody>
      </p:sp>
      <p:sp>
        <p:nvSpPr>
          <p:cNvPr id="159" name="Rectangle 31">
            <a:extLst>
              <a:ext uri="{FF2B5EF4-FFF2-40B4-BE49-F238E27FC236}">
                <a16:creationId xmlns:a16="http://schemas.microsoft.com/office/drawing/2014/main" id="{CEEA2F36-27BA-43A9-AE85-ADF18A4635E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3660507" y="1962487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68" name="Rectangle 31">
            <a:extLst>
              <a:ext uri="{FF2B5EF4-FFF2-40B4-BE49-F238E27FC236}">
                <a16:creationId xmlns:a16="http://schemas.microsoft.com/office/drawing/2014/main" id="{039239D6-431D-40ED-A361-4C5B0D1B978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352490" y="1962487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2" name="Rectangle 33">
            <a:extLst>
              <a:ext uri="{FF2B5EF4-FFF2-40B4-BE49-F238E27FC236}">
                <a16:creationId xmlns:a16="http://schemas.microsoft.com/office/drawing/2014/main" id="{35D32C56-A953-4AEB-9CD3-7334E09592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1773693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Insights and analytics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4557584" y="1773693"/>
            <a:ext cx="6800327" cy="48381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4"/>
                </a:solidFill>
              </a:rPr>
              <a:t>Develop a more holistic approach </a:t>
            </a:r>
            <a:r>
              <a:rPr lang="en-US" sz="1100" dirty="0"/>
              <a:t>to data collection, creating a 360 degree view of each customer across the journey</a:t>
            </a:r>
          </a:p>
          <a:p>
            <a:pPr lvl="1"/>
            <a:r>
              <a:rPr lang="en-US" sz="1100" b="1" dirty="0">
                <a:solidFill>
                  <a:schemeClr val="accent4"/>
                </a:solidFill>
              </a:rPr>
              <a:t>Embed data &amp; analytics systematically </a:t>
            </a:r>
            <a:r>
              <a:rPr lang="en-US" sz="1100" dirty="0"/>
              <a:t>into decision-making</a:t>
            </a:r>
          </a:p>
        </p:txBody>
      </p:sp>
      <p:sp>
        <p:nvSpPr>
          <p:cNvPr id="210" name="ACET">
            <a:extLst>
              <a:ext uri="{FF2B5EF4-FFF2-40B4-BE49-F238E27FC236}">
                <a16:creationId xmlns:a16="http://schemas.microsoft.com/office/drawing/2014/main" id="{551D2CC2-1A29-40C8-951A-48C1F6EAC6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57584" y="1053908"/>
            <a:ext cx="6800327" cy="17886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noAutofit/>
          </a:bodyPr>
          <a:lstStyle/>
          <a:p>
            <a:r>
              <a:rPr lang="en-GB" sz="1100" b="1" dirty="0">
                <a:solidFill>
                  <a:schemeClr val="accent4"/>
                </a:solidFill>
                <a:latin typeface="+mn-lt"/>
              </a:rPr>
              <a:t>Future state</a:t>
            </a:r>
            <a:endParaRPr lang="en-GB" sz="11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155" name="Rectangle 33">
            <a:extLst>
              <a:ext uri="{FF2B5EF4-FFF2-40B4-BE49-F238E27FC236}">
                <a16:creationId xmlns:a16="http://schemas.microsoft.com/office/drawing/2014/main" id="{C687A6DF-6650-462E-BDDF-CCF02D6B543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5769492"/>
            <a:ext cx="1906344" cy="274392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Culture</a:t>
            </a:r>
          </a:p>
        </p:txBody>
      </p:sp>
      <p:sp>
        <p:nvSpPr>
          <p:cNvPr id="166" name="Rectangle 31">
            <a:extLst>
              <a:ext uri="{FF2B5EF4-FFF2-40B4-BE49-F238E27FC236}">
                <a16:creationId xmlns:a16="http://schemas.microsoft.com/office/drawing/2014/main" id="{F5558160-A9BC-43E0-B31A-88815C2C6E83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4101027" y="5853574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78" name="Rectangle 31">
            <a:extLst>
              <a:ext uri="{FF2B5EF4-FFF2-40B4-BE49-F238E27FC236}">
                <a16:creationId xmlns:a16="http://schemas.microsoft.com/office/drawing/2014/main" id="{F951BF3F-B00C-4F03-8C24-426591C8EEB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4129608" y="5853574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21" name="Rectangle 33">
            <a:extLst>
              <a:ext uri="{FF2B5EF4-FFF2-40B4-BE49-F238E27FC236}">
                <a16:creationId xmlns:a16="http://schemas.microsoft.com/office/drawing/2014/main" id="{18E2F65C-6105-44BB-9E36-F6EDAC58EE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32466" y="1248039"/>
            <a:ext cx="1906344" cy="483818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45715" tIns="45715" rIns="45715" bIns="45715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chemeClr val="tx2"/>
              </a:buClr>
            </a:pPr>
            <a:r>
              <a:rPr lang="en-US" sz="1100" b="1" dirty="0">
                <a:solidFill>
                  <a:schemeClr val="bg1"/>
                </a:solidFill>
                <a:latin typeface="+mn-lt"/>
              </a:rPr>
              <a:t>Commercial and brand strategy</a:t>
            </a:r>
          </a:p>
        </p:txBody>
      </p:sp>
      <p:sp>
        <p:nvSpPr>
          <p:cNvPr id="157" name="Rectangle 31">
            <a:extLst>
              <a:ext uri="{FF2B5EF4-FFF2-40B4-BE49-F238E27FC236}">
                <a16:creationId xmlns:a16="http://schemas.microsoft.com/office/drawing/2014/main" id="{50B72C1E-89E9-438C-9582-014EA80F6B4F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3660507" y="1436832"/>
            <a:ext cx="115562" cy="106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158" name="Rectangle 31">
            <a:extLst>
              <a:ext uri="{FF2B5EF4-FFF2-40B4-BE49-F238E27FC236}">
                <a16:creationId xmlns:a16="http://schemas.microsoft.com/office/drawing/2014/main" id="{EAB10411-CEAF-4FF8-9DFE-45BC71E1525C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4089708" y="1436832"/>
            <a:ext cx="115562" cy="106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US" sz="1100" dirty="0"/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4557584" y="1248039"/>
            <a:ext cx="6800327" cy="3225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/>
            <a:r>
              <a:rPr lang="en-US" sz="1100" b="1" dirty="0">
                <a:solidFill>
                  <a:schemeClr val="accent4"/>
                </a:solidFill>
              </a:rPr>
              <a:t>Lead the commercial strategy </a:t>
            </a:r>
            <a:r>
              <a:rPr lang="en-US" sz="1100" dirty="0"/>
              <a:t>by identifying opportunities and driving them through to execution</a:t>
            </a:r>
          </a:p>
          <a:p>
            <a:pPr lvl="1"/>
            <a:r>
              <a:rPr lang="en-US" sz="1100" b="1" dirty="0">
                <a:solidFill>
                  <a:schemeClr val="accent4"/>
                </a:solidFill>
              </a:rPr>
              <a:t>Provide a data-driven perspective </a:t>
            </a:r>
            <a:r>
              <a:rPr lang="en-US" sz="1100" dirty="0"/>
              <a:t>on the competition, market, and operations 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9C262149-2209-45F6-A4BB-1E69CBBC0C4D}"/>
              </a:ext>
            </a:extLst>
          </p:cNvPr>
          <p:cNvSpPr>
            <a:spLocks/>
          </p:cNvSpPr>
          <p:nvPr/>
        </p:nvSpPr>
        <p:spPr bwMode="gray">
          <a:xfrm>
            <a:off x="413692" y="1248039"/>
            <a:ext cx="1053498" cy="4795846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wrap="square" lIns="35999" rIns="35999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b="1" kern="0" dirty="0">
                <a:solidFill>
                  <a:schemeClr val="bg1"/>
                </a:solidFill>
                <a:latin typeface="+mn-lt"/>
                <a:ea typeface="ＭＳ Ｐゴシック"/>
              </a:rPr>
              <a:t>Capabiliti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7A7CE1-8B68-4456-B47A-C06FF50CFDF1}"/>
              </a:ext>
            </a:extLst>
          </p:cNvPr>
          <p:cNvSpPr/>
          <p:nvPr/>
        </p:nvSpPr>
        <p:spPr>
          <a:xfrm>
            <a:off x="1496163" y="1745280"/>
            <a:ext cx="9899553" cy="1057283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A8E7B7F-57BA-4DA0-B9C1-3D2510E37D6E}"/>
              </a:ext>
            </a:extLst>
          </p:cNvPr>
          <p:cNvSpPr/>
          <p:nvPr/>
        </p:nvSpPr>
        <p:spPr>
          <a:xfrm>
            <a:off x="1496163" y="3338290"/>
            <a:ext cx="9899553" cy="496614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5" name="ACET">
            <a:extLst>
              <a:ext uri="{FF2B5EF4-FFF2-40B4-BE49-F238E27FC236}">
                <a16:creationId xmlns:a16="http://schemas.microsoft.com/office/drawing/2014/main" id="{760BBDBD-AF94-42FF-BDE8-353B7C33DA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04087" y="865609"/>
            <a:ext cx="918309" cy="17879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 anchorCtr="0">
            <a:spAutoFit/>
          </a:bodyPr>
          <a:lstStyle/>
          <a:p>
            <a:r>
              <a:rPr lang="en-GB" sz="1100" b="1" dirty="0">
                <a:solidFill>
                  <a:schemeClr val="accent4"/>
                </a:solidFill>
                <a:latin typeface="+mn-lt"/>
              </a:rPr>
              <a:t>Rating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504087" y="1041383"/>
            <a:ext cx="918309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F2EA34AB-2FFD-468F-BF3D-DD7A75DE3B7B}"/>
              </a:ext>
            </a:extLst>
          </p:cNvPr>
          <p:cNvSpPr>
            <a:spLocks/>
          </p:cNvSpPr>
          <p:nvPr/>
        </p:nvSpPr>
        <p:spPr>
          <a:xfrm>
            <a:off x="7365284" y="48418"/>
            <a:ext cx="4416804" cy="163613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1BF7805-7BE4-4955-A76E-3ACF7F147303}"/>
              </a:ext>
            </a:extLst>
          </p:cNvPr>
          <p:cNvSpPr/>
          <p:nvPr/>
        </p:nvSpPr>
        <p:spPr>
          <a:xfrm>
            <a:off x="7365283" y="48418"/>
            <a:ext cx="914387" cy="16361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187148F7-B619-490F-90DD-D6F8FD13C548}"/>
              </a:ext>
            </a:extLst>
          </p:cNvPr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1778" y="57588"/>
            <a:ext cx="152181" cy="152181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C20A8556-D2CA-4098-A126-803632A85859}"/>
              </a:ext>
            </a:extLst>
          </p:cNvPr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7592" y="51267"/>
            <a:ext cx="152181" cy="152181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4A416AC7-C64C-42FC-AC69-84E7DF84DD49}"/>
              </a:ext>
            </a:extLst>
          </p:cNvPr>
          <p:cNvPicPr>
            <a:picLocks noChangeAspect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542" y="58419"/>
            <a:ext cx="152181" cy="152181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338E178F-CCFB-4CFD-A82C-43B745A65A7E}"/>
              </a:ext>
            </a:extLst>
          </p:cNvPr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1784" y="63942"/>
            <a:ext cx="152181" cy="141134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7377D1DF-D413-402D-B460-6197003AD05B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8653" y="58419"/>
            <a:ext cx="152181" cy="152181"/>
          </a:xfrm>
          <a:prstGeom prst="rect">
            <a:avLst/>
          </a:prstGeom>
        </p:spPr>
      </p:pic>
      <p:sp>
        <p:nvSpPr>
          <p:cNvPr id="149" name="Chevron 58">
            <a:extLst>
              <a:ext uri="{FF2B5EF4-FFF2-40B4-BE49-F238E27FC236}">
                <a16:creationId xmlns:a16="http://schemas.microsoft.com/office/drawing/2014/main" id="{0183377C-E734-4C76-868A-F645D0DDE95E}"/>
              </a:ext>
            </a:extLst>
          </p:cNvPr>
          <p:cNvSpPr/>
          <p:nvPr/>
        </p:nvSpPr>
        <p:spPr>
          <a:xfrm>
            <a:off x="8262663" y="78179"/>
            <a:ext cx="68656" cy="105374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0" name="Chevron 59">
            <a:extLst>
              <a:ext uri="{FF2B5EF4-FFF2-40B4-BE49-F238E27FC236}">
                <a16:creationId xmlns:a16="http://schemas.microsoft.com/office/drawing/2014/main" id="{44F8FE0E-83BA-4130-812B-C411D6E85F15}"/>
              </a:ext>
            </a:extLst>
          </p:cNvPr>
          <p:cNvSpPr/>
          <p:nvPr/>
        </p:nvSpPr>
        <p:spPr>
          <a:xfrm>
            <a:off x="9223019" y="78179"/>
            <a:ext cx="68656" cy="105374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1" name="Chevron 60">
            <a:extLst>
              <a:ext uri="{FF2B5EF4-FFF2-40B4-BE49-F238E27FC236}">
                <a16:creationId xmlns:a16="http://schemas.microsoft.com/office/drawing/2014/main" id="{509FA594-71F7-4FD9-B7EE-36327CB749F4}"/>
              </a:ext>
            </a:extLst>
          </p:cNvPr>
          <p:cNvSpPr/>
          <p:nvPr/>
        </p:nvSpPr>
        <p:spPr>
          <a:xfrm>
            <a:off x="10283838" y="78179"/>
            <a:ext cx="68656" cy="105374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07" name="Chevron 61">
            <a:extLst>
              <a:ext uri="{FF2B5EF4-FFF2-40B4-BE49-F238E27FC236}">
                <a16:creationId xmlns:a16="http://schemas.microsoft.com/office/drawing/2014/main" id="{B53E270D-FCEE-4DC6-B0D2-808BC5FEE7F1}"/>
              </a:ext>
            </a:extLst>
          </p:cNvPr>
          <p:cNvSpPr/>
          <p:nvPr/>
        </p:nvSpPr>
        <p:spPr>
          <a:xfrm>
            <a:off x="10996703" y="78179"/>
            <a:ext cx="68656" cy="105374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1884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4" name="Object 133" hidden="1">
            <a:extLst>
              <a:ext uri="{FF2B5EF4-FFF2-40B4-BE49-F238E27FC236}">
                <a16:creationId xmlns:a16="http://schemas.microsoft.com/office/drawing/2014/main" id="{1587FA2B-DBA6-416F-B6C6-C1FA97FF4E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961582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2" name="think-cell Slide" r:id="rId11" imgW="524" imgH="526" progId="TCLayout.ActiveDocument.1">
                  <p:embed/>
                </p:oleObj>
              </mc:Choice>
              <mc:Fallback>
                <p:oleObj name="think-cell Slide" r:id="rId11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722B4B03-7A15-4767-842F-CA58162421ED}"/>
              </a:ext>
            </a:extLst>
          </p:cNvPr>
          <p:cNvGrpSpPr/>
          <p:nvPr/>
        </p:nvGrpSpPr>
        <p:grpSpPr>
          <a:xfrm>
            <a:off x="8390553" y="616576"/>
            <a:ext cx="3260020" cy="161691"/>
            <a:chOff x="7415981" y="304191"/>
            <a:chExt cx="3260067" cy="161694"/>
          </a:xfrm>
        </p:grpSpPr>
        <p:sp>
          <p:nvSpPr>
            <p:cNvPr id="198" name="Arrow: Down 197">
              <a:extLst>
                <a:ext uri="{FF2B5EF4-FFF2-40B4-BE49-F238E27FC236}">
                  <a16:creationId xmlns:a16="http://schemas.microsoft.com/office/drawing/2014/main" id="{471C20BC-C4AD-4C23-8E0F-F4F8062D4C51}"/>
                </a:ext>
              </a:extLst>
            </p:cNvPr>
            <p:cNvSpPr/>
            <p:nvPr/>
          </p:nvSpPr>
          <p:spPr>
            <a:xfrm rot="10800000">
              <a:off x="7415981" y="307553"/>
              <a:ext cx="107628" cy="154971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9" name="Arrow: Down 198">
              <a:extLst>
                <a:ext uri="{FF2B5EF4-FFF2-40B4-BE49-F238E27FC236}">
                  <a16:creationId xmlns:a16="http://schemas.microsoft.com/office/drawing/2014/main" id="{03FD2B53-BA2D-48AF-BEF1-3E5B5FCA1DA0}"/>
                </a:ext>
              </a:extLst>
            </p:cNvPr>
            <p:cNvSpPr/>
            <p:nvPr/>
          </p:nvSpPr>
          <p:spPr>
            <a:xfrm>
              <a:off x="8290410" y="307553"/>
              <a:ext cx="107628" cy="154971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Minus Sign 199">
              <a:extLst>
                <a:ext uri="{FF2B5EF4-FFF2-40B4-BE49-F238E27FC236}">
                  <a16:creationId xmlns:a16="http://schemas.microsoft.com/office/drawing/2014/main" id="{837EB2ED-4203-499B-9918-2F6A3FE6D8DC}"/>
                </a:ext>
              </a:extLst>
            </p:cNvPr>
            <p:cNvSpPr/>
            <p:nvPr/>
          </p:nvSpPr>
          <p:spPr>
            <a:xfrm>
              <a:off x="10043285" y="304191"/>
              <a:ext cx="178827" cy="161694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2" name="Legend1">
              <a:extLst>
                <a:ext uri="{FF2B5EF4-FFF2-40B4-BE49-F238E27FC236}">
                  <a16:creationId xmlns:a16="http://schemas.microsoft.com/office/drawing/2014/main" id="{A2E1312B-D319-488E-83CF-9038A3863609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7624881" y="315789"/>
              <a:ext cx="564265" cy="138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rgbClr val="002960"/>
                </a:buClr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Investment</a:t>
              </a:r>
            </a:p>
          </p:txBody>
        </p:sp>
        <p:sp>
          <p:nvSpPr>
            <p:cNvPr id="203" name="Legend1">
              <a:extLst>
                <a:ext uri="{FF2B5EF4-FFF2-40B4-BE49-F238E27FC236}">
                  <a16:creationId xmlns:a16="http://schemas.microsoft.com/office/drawing/2014/main" id="{41E2F898-046C-4874-AAB4-0405977D1C42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499310" y="315789"/>
              <a:ext cx="1442724" cy="138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rgbClr val="002960"/>
                </a:buClr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Remit shift or efficiency gain</a:t>
              </a:r>
            </a:p>
          </p:txBody>
        </p:sp>
        <p:sp>
          <p:nvSpPr>
            <p:cNvPr id="204" name="Legend1">
              <a:extLst>
                <a:ext uri="{FF2B5EF4-FFF2-40B4-BE49-F238E27FC236}">
                  <a16:creationId xmlns:a16="http://schemas.microsoft.com/office/drawing/2014/main" id="{C397E8F8-F22B-4366-8C7C-4D03126CFEED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0323382" y="315789"/>
              <a:ext cx="352666" cy="138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17">
                <a:buClr>
                  <a:srgbClr val="002960"/>
                </a:buClr>
                <a:defRPr/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Similar</a:t>
              </a: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C175BCCE-2E38-4C78-B4BB-6E751AD4A143}"/>
              </a:ext>
            </a:extLst>
          </p:cNvPr>
          <p:cNvGrpSpPr/>
          <p:nvPr/>
        </p:nvGrpSpPr>
        <p:grpSpPr>
          <a:xfrm>
            <a:off x="7365284" y="48418"/>
            <a:ext cx="4416804" cy="163613"/>
            <a:chOff x="7365304" y="302269"/>
            <a:chExt cx="4416869" cy="163616"/>
          </a:xfrm>
        </p:grpSpPr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388D3804-E687-46F9-B536-BEF531A728A6}"/>
                </a:ext>
              </a:extLst>
            </p:cNvPr>
            <p:cNvSpPr>
              <a:spLocks/>
            </p:cNvSpPr>
            <p:nvPr/>
          </p:nvSpPr>
          <p:spPr>
            <a:xfrm>
              <a:off x="7365304" y="302269"/>
              <a:ext cx="4416869" cy="16361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E7C8EAE0-717E-49F4-94D3-89282F9749E1}"/>
                </a:ext>
              </a:extLst>
            </p:cNvPr>
            <p:cNvSpPr/>
            <p:nvPr/>
          </p:nvSpPr>
          <p:spPr>
            <a:xfrm>
              <a:off x="10318750" y="302269"/>
              <a:ext cx="712354" cy="163616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221" name="Picture 220">
              <a:extLst>
                <a:ext uri="{FF2B5EF4-FFF2-40B4-BE49-F238E27FC236}">
                  <a16:creationId xmlns:a16="http://schemas.microsoft.com/office/drawing/2014/main" id="{5DFC76A1-0979-44A1-908D-67E082BDDB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1823" y="311439"/>
              <a:ext cx="152183" cy="152183"/>
            </a:xfrm>
            <a:prstGeom prst="rect">
              <a:avLst/>
            </a:prstGeom>
          </p:spPr>
        </p:pic>
        <p:pic>
          <p:nvPicPr>
            <p:cNvPr id="222" name="Picture 221">
              <a:extLst>
                <a:ext uri="{FF2B5EF4-FFF2-40B4-BE49-F238E27FC236}">
                  <a16:creationId xmlns:a16="http://schemas.microsoft.com/office/drawing/2014/main" id="{76F16C02-1F49-46AF-A803-5AC9C4BEE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07623" y="305117"/>
              <a:ext cx="152183" cy="152183"/>
            </a:xfrm>
            <a:prstGeom prst="rect">
              <a:avLst/>
            </a:prstGeom>
          </p:spPr>
        </p:pic>
        <p:pic>
          <p:nvPicPr>
            <p:cNvPr id="223" name="Picture 222">
              <a:extLst>
                <a:ext uri="{FF2B5EF4-FFF2-40B4-BE49-F238E27FC236}">
                  <a16:creationId xmlns:a16="http://schemas.microsoft.com/office/drawing/2014/main" id="{EDACA978-7F33-4012-AC50-055221EC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6603" y="312270"/>
              <a:ext cx="152183" cy="152183"/>
            </a:xfrm>
            <a:prstGeom prst="rect">
              <a:avLst/>
            </a:prstGeom>
          </p:spPr>
        </p:pic>
        <p:pic>
          <p:nvPicPr>
            <p:cNvPr id="224" name="Picture 223">
              <a:extLst>
                <a:ext uri="{FF2B5EF4-FFF2-40B4-BE49-F238E27FC236}">
                  <a16:creationId xmlns:a16="http://schemas.microsoft.com/office/drawing/2014/main" id="{20571503-60A5-45D5-AE00-A4E32FDFE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611867" y="317794"/>
              <a:ext cx="152183" cy="141136"/>
            </a:xfrm>
            <a:prstGeom prst="rect">
              <a:avLst/>
            </a:prstGeom>
          </p:spPr>
        </p:pic>
        <p:pic>
          <p:nvPicPr>
            <p:cNvPr id="225" name="Picture 224">
              <a:extLst>
                <a:ext uri="{FF2B5EF4-FFF2-40B4-BE49-F238E27FC236}">
                  <a16:creationId xmlns:a16="http://schemas.microsoft.com/office/drawing/2014/main" id="{C968DA85-9726-4B69-9AF8-6E5828004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38724" y="312270"/>
              <a:ext cx="152183" cy="152183"/>
            </a:xfrm>
            <a:prstGeom prst="rect">
              <a:avLst/>
            </a:prstGeom>
          </p:spPr>
        </p:pic>
        <p:sp>
          <p:nvSpPr>
            <p:cNvPr id="226" name="Chevron 58">
              <a:extLst>
                <a:ext uri="{FF2B5EF4-FFF2-40B4-BE49-F238E27FC236}">
                  <a16:creationId xmlns:a16="http://schemas.microsoft.com/office/drawing/2014/main" id="{37A9A0B2-B3F7-48F5-AEC2-D7171FEA3FF4}"/>
                </a:ext>
              </a:extLst>
            </p:cNvPr>
            <p:cNvSpPr/>
            <p:nvPr/>
          </p:nvSpPr>
          <p:spPr>
            <a:xfrm>
              <a:off x="8262696" y="332030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27" name="Chevron 59">
              <a:extLst>
                <a:ext uri="{FF2B5EF4-FFF2-40B4-BE49-F238E27FC236}">
                  <a16:creationId xmlns:a16="http://schemas.microsoft.com/office/drawing/2014/main" id="{0BE4A1AB-89C2-4158-A635-0343A5AFF03A}"/>
                </a:ext>
              </a:extLst>
            </p:cNvPr>
            <p:cNvSpPr/>
            <p:nvPr/>
          </p:nvSpPr>
          <p:spPr>
            <a:xfrm>
              <a:off x="9223066" y="332030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28" name="Chevron 60">
              <a:extLst>
                <a:ext uri="{FF2B5EF4-FFF2-40B4-BE49-F238E27FC236}">
                  <a16:creationId xmlns:a16="http://schemas.microsoft.com/office/drawing/2014/main" id="{891D0693-8F08-4C76-8CA3-1203625A53F9}"/>
                </a:ext>
              </a:extLst>
            </p:cNvPr>
            <p:cNvSpPr/>
            <p:nvPr/>
          </p:nvSpPr>
          <p:spPr>
            <a:xfrm>
              <a:off x="10283900" y="332030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29" name="Chevron 61">
              <a:extLst>
                <a:ext uri="{FF2B5EF4-FFF2-40B4-BE49-F238E27FC236}">
                  <a16:creationId xmlns:a16="http://schemas.microsoft.com/office/drawing/2014/main" id="{0DCAC6F3-CA6D-43B6-8B56-FDABF6CF7425}"/>
                </a:ext>
              </a:extLst>
            </p:cNvPr>
            <p:cNvSpPr/>
            <p:nvPr/>
          </p:nvSpPr>
          <p:spPr>
            <a:xfrm>
              <a:off x="10996776" y="332030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28" name="Title 27">
            <a:extLst>
              <a:ext uri="{FF2B5EF4-FFF2-40B4-BE49-F238E27FC236}">
                <a16:creationId xmlns:a16="http://schemas.microsoft.com/office/drawing/2014/main" id="{376E9D9E-53CD-4C99-BC82-9DF71DCC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se study – We defined the roles and investment in each level of the organization by capabil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47EF7-B500-41D6-AB0F-FC4542F39FF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20374" y="6031822"/>
            <a:ext cx="8368660" cy="3389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199" tIns="76199" rIns="76199" bIns="7619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defTabSz="895317">
              <a:buClr>
                <a:srgbClr val="FFFFFF"/>
              </a:buClr>
              <a:defRPr/>
            </a:pPr>
            <a:r>
              <a:rPr lang="en-US" b="1" dirty="0">
                <a:solidFill>
                  <a:srgbClr val="FFFFFF"/>
                </a:solidFill>
              </a:rPr>
              <a:t>Underlying numbers are based on extensive FTE and activity mapping across the organization</a:t>
            </a:r>
          </a:p>
        </p:txBody>
      </p:sp>
      <p:sp>
        <p:nvSpPr>
          <p:cNvPr id="149" name="Rectangle 3">
            <a:extLst>
              <a:ext uri="{FF2B5EF4-FFF2-40B4-BE49-F238E27FC236}">
                <a16:creationId xmlns:a16="http://schemas.microsoft.com/office/drawing/2014/main" id="{B53CB7C3-6954-48EB-AC2C-64078E4279E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076326" y="1105626"/>
            <a:ext cx="10092338" cy="338964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lt1"/>
                </a:solidFill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lt1"/>
                </a:solidFill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lt1"/>
                </a:solidFill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lt1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9pPr>
          </a:lstStyle>
          <a:p>
            <a:pPr defTabSz="914367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1F895462-AB49-40CF-950B-F0DC10E321B9}"/>
              </a:ext>
            </a:extLst>
          </p:cNvPr>
          <p:cNvCxnSpPr>
            <a:cxnSpLocks/>
          </p:cNvCxnSpPr>
          <p:nvPr/>
        </p:nvCxnSpPr>
        <p:spPr>
          <a:xfrm>
            <a:off x="3620321" y="5590405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F9B25D9-8E78-4791-96D9-6236F79A84E9}"/>
              </a:ext>
            </a:extLst>
          </p:cNvPr>
          <p:cNvCxnSpPr>
            <a:cxnSpLocks/>
          </p:cNvCxnSpPr>
          <p:nvPr/>
        </p:nvCxnSpPr>
        <p:spPr>
          <a:xfrm>
            <a:off x="3620321" y="1910904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05618290-4099-4178-9774-650B3724C59C}"/>
              </a:ext>
            </a:extLst>
          </p:cNvPr>
          <p:cNvCxnSpPr>
            <a:cxnSpLocks/>
          </p:cNvCxnSpPr>
          <p:nvPr/>
        </p:nvCxnSpPr>
        <p:spPr>
          <a:xfrm>
            <a:off x="3620321" y="2313443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D6A78F7B-AB0B-48D8-963F-A1CB47A7D3F5}"/>
              </a:ext>
            </a:extLst>
          </p:cNvPr>
          <p:cNvCxnSpPr>
            <a:cxnSpLocks/>
          </p:cNvCxnSpPr>
          <p:nvPr/>
        </p:nvCxnSpPr>
        <p:spPr>
          <a:xfrm>
            <a:off x="3620321" y="3251690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760C1D7A-CF54-463D-9336-B62665B3D335}"/>
              </a:ext>
            </a:extLst>
          </p:cNvPr>
          <p:cNvCxnSpPr>
            <a:cxnSpLocks/>
          </p:cNvCxnSpPr>
          <p:nvPr/>
        </p:nvCxnSpPr>
        <p:spPr>
          <a:xfrm>
            <a:off x="3620321" y="2715983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2DCBDCB0-A7FC-47AA-8EF4-E6EBA99B1A95}"/>
              </a:ext>
            </a:extLst>
          </p:cNvPr>
          <p:cNvCxnSpPr>
            <a:cxnSpLocks/>
          </p:cNvCxnSpPr>
          <p:nvPr/>
        </p:nvCxnSpPr>
        <p:spPr>
          <a:xfrm>
            <a:off x="3620321" y="3654228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4020D53F-62E9-42E4-A03D-86169B193EFD}"/>
              </a:ext>
            </a:extLst>
          </p:cNvPr>
          <p:cNvCxnSpPr>
            <a:cxnSpLocks/>
          </p:cNvCxnSpPr>
          <p:nvPr/>
        </p:nvCxnSpPr>
        <p:spPr>
          <a:xfrm>
            <a:off x="3620321" y="4056768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C4774943-C7A6-4B82-ACE3-8D856E4E7932}"/>
              </a:ext>
            </a:extLst>
          </p:cNvPr>
          <p:cNvCxnSpPr>
            <a:cxnSpLocks/>
          </p:cNvCxnSpPr>
          <p:nvPr/>
        </p:nvCxnSpPr>
        <p:spPr>
          <a:xfrm>
            <a:off x="3620321" y="4459308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02E139F-C757-4B2F-8D6A-C870CA6E09AC}"/>
              </a:ext>
            </a:extLst>
          </p:cNvPr>
          <p:cNvCxnSpPr>
            <a:cxnSpLocks/>
          </p:cNvCxnSpPr>
          <p:nvPr/>
        </p:nvCxnSpPr>
        <p:spPr>
          <a:xfrm>
            <a:off x="3620321" y="4861847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A0A1EF66-752D-41C1-ABF1-7724113D5CBD}"/>
              </a:ext>
            </a:extLst>
          </p:cNvPr>
          <p:cNvCxnSpPr>
            <a:cxnSpLocks/>
          </p:cNvCxnSpPr>
          <p:nvPr/>
        </p:nvCxnSpPr>
        <p:spPr>
          <a:xfrm>
            <a:off x="3620321" y="5264387"/>
            <a:ext cx="4946719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5" name="Picture 134">
            <a:extLst>
              <a:ext uri="{FF2B5EF4-FFF2-40B4-BE49-F238E27FC236}">
                <a16:creationId xmlns:a16="http://schemas.microsoft.com/office/drawing/2014/main" id="{4802A922-01D9-4511-BB6C-89FC7938ACBA}"/>
              </a:ext>
            </a:extLst>
          </p:cNvPr>
          <p:cNvPicPr>
            <a:picLocks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326" y="1474341"/>
            <a:ext cx="2325730" cy="454068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50" name="Rectangle 3">
            <a:extLst>
              <a:ext uri="{FF2B5EF4-FFF2-40B4-BE49-F238E27FC236}">
                <a16:creationId xmlns:a16="http://schemas.microsoft.com/office/drawing/2014/main" id="{3015BD42-64BE-4C1F-A3EE-7E10C18EA22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76326" y="1474341"/>
            <a:ext cx="2325730" cy="4540682"/>
          </a:xfrm>
          <a:prstGeom prst="rect">
            <a:avLst/>
          </a:prstGeom>
          <a:solidFill>
            <a:schemeClr val="tx2">
              <a:alpha val="7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lt1"/>
                </a:solidFill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lt1"/>
                </a:solidFill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lt1"/>
                </a:solidFill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lt1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dirty="0"/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C830DC2C-3440-4C5C-9CC2-30DE32C2B230}"/>
              </a:ext>
            </a:extLst>
          </p:cNvPr>
          <p:cNvCxnSpPr>
            <a:cxnSpLocks/>
          </p:cNvCxnSpPr>
          <p:nvPr/>
        </p:nvCxnSpPr>
        <p:spPr>
          <a:xfrm>
            <a:off x="1152169" y="5590405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2C9F8662-1CDC-4481-B962-6FB7133CF8E1}"/>
              </a:ext>
            </a:extLst>
          </p:cNvPr>
          <p:cNvCxnSpPr>
            <a:cxnSpLocks/>
          </p:cNvCxnSpPr>
          <p:nvPr/>
        </p:nvCxnSpPr>
        <p:spPr>
          <a:xfrm>
            <a:off x="1152169" y="1910904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4721AD38-7DF4-4A62-953A-6494C52CE83A}"/>
              </a:ext>
            </a:extLst>
          </p:cNvPr>
          <p:cNvCxnSpPr>
            <a:cxnSpLocks/>
          </p:cNvCxnSpPr>
          <p:nvPr/>
        </p:nvCxnSpPr>
        <p:spPr>
          <a:xfrm>
            <a:off x="1152169" y="2313443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672F3D1-3FD3-472D-95EA-6190B5D35854}"/>
              </a:ext>
            </a:extLst>
          </p:cNvPr>
          <p:cNvCxnSpPr>
            <a:cxnSpLocks/>
          </p:cNvCxnSpPr>
          <p:nvPr/>
        </p:nvCxnSpPr>
        <p:spPr>
          <a:xfrm>
            <a:off x="1152169" y="3251690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40BCD2AA-E475-456F-B843-738A103A1ACA}"/>
              </a:ext>
            </a:extLst>
          </p:cNvPr>
          <p:cNvCxnSpPr>
            <a:cxnSpLocks/>
          </p:cNvCxnSpPr>
          <p:nvPr/>
        </p:nvCxnSpPr>
        <p:spPr>
          <a:xfrm>
            <a:off x="1152169" y="2715983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51C2ABA8-8CE3-41BA-ABF3-35D88C2DDA40}"/>
              </a:ext>
            </a:extLst>
          </p:cNvPr>
          <p:cNvCxnSpPr>
            <a:cxnSpLocks/>
          </p:cNvCxnSpPr>
          <p:nvPr/>
        </p:nvCxnSpPr>
        <p:spPr>
          <a:xfrm>
            <a:off x="1152169" y="3654228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9A73A504-B161-4284-BDC9-65B942C7ED45}"/>
              </a:ext>
            </a:extLst>
          </p:cNvPr>
          <p:cNvCxnSpPr>
            <a:cxnSpLocks/>
          </p:cNvCxnSpPr>
          <p:nvPr/>
        </p:nvCxnSpPr>
        <p:spPr>
          <a:xfrm>
            <a:off x="1152169" y="4056768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D943743B-293E-4015-AEB2-56D1220F894B}"/>
              </a:ext>
            </a:extLst>
          </p:cNvPr>
          <p:cNvCxnSpPr>
            <a:cxnSpLocks/>
          </p:cNvCxnSpPr>
          <p:nvPr/>
        </p:nvCxnSpPr>
        <p:spPr>
          <a:xfrm>
            <a:off x="1152169" y="4459308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B4D41A73-100F-435C-A073-033E32C24DE3}"/>
              </a:ext>
            </a:extLst>
          </p:cNvPr>
          <p:cNvCxnSpPr>
            <a:cxnSpLocks/>
          </p:cNvCxnSpPr>
          <p:nvPr/>
        </p:nvCxnSpPr>
        <p:spPr>
          <a:xfrm>
            <a:off x="1152169" y="4861847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5CB74611-29EB-4513-BD64-7B6F825BA341}"/>
              </a:ext>
            </a:extLst>
          </p:cNvPr>
          <p:cNvCxnSpPr>
            <a:cxnSpLocks/>
          </p:cNvCxnSpPr>
          <p:nvPr/>
        </p:nvCxnSpPr>
        <p:spPr>
          <a:xfrm>
            <a:off x="1152169" y="5264387"/>
            <a:ext cx="2174043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extBox 229">
            <a:extLst>
              <a:ext uri="{FF2B5EF4-FFF2-40B4-BE49-F238E27FC236}">
                <a16:creationId xmlns:a16="http://schemas.microsoft.com/office/drawing/2014/main" id="{A18DFC7A-911C-4393-BE3D-261ABF7EAA63}"/>
              </a:ext>
            </a:extLst>
          </p:cNvPr>
          <p:cNvSpPr txBox="1">
            <a:spLocks/>
          </p:cNvSpPr>
          <p:nvPr/>
        </p:nvSpPr>
        <p:spPr>
          <a:xfrm>
            <a:off x="1152169" y="4555735"/>
            <a:ext cx="2174043" cy="4493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Customer Engagement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2393C5EE-D1A9-4290-A2B1-474536744118}"/>
              </a:ext>
            </a:extLst>
          </p:cNvPr>
          <p:cNvSpPr txBox="1">
            <a:spLocks/>
          </p:cNvSpPr>
          <p:nvPr/>
        </p:nvSpPr>
        <p:spPr>
          <a:xfrm>
            <a:off x="1152169" y="5322553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Others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2492330-4491-42D2-8304-0AD528252AE9}"/>
              </a:ext>
            </a:extLst>
          </p:cNvPr>
          <p:cNvSpPr txBox="1">
            <a:spLocks/>
          </p:cNvSpPr>
          <p:nvPr/>
        </p:nvSpPr>
        <p:spPr>
          <a:xfrm>
            <a:off x="1152169" y="3348116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Digital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4A5C8E87-99D4-463D-83B7-0507D2B549DB}"/>
              </a:ext>
            </a:extLst>
          </p:cNvPr>
          <p:cNvSpPr txBox="1">
            <a:spLocks/>
          </p:cNvSpPr>
          <p:nvPr/>
        </p:nvSpPr>
        <p:spPr>
          <a:xfrm>
            <a:off x="1152169" y="2774149"/>
            <a:ext cx="2174043" cy="4493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Customer experience design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3105CDAB-010B-4360-965D-BA23D0723FA3}"/>
              </a:ext>
            </a:extLst>
          </p:cNvPr>
          <p:cNvSpPr txBox="1">
            <a:spLocks/>
          </p:cNvSpPr>
          <p:nvPr/>
        </p:nvSpPr>
        <p:spPr>
          <a:xfrm>
            <a:off x="1152169" y="3750655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Data &amp; Analytics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A8A411DC-E59F-433A-B061-BD6A0D005F70}"/>
              </a:ext>
            </a:extLst>
          </p:cNvPr>
          <p:cNvSpPr txBox="1">
            <a:spLocks/>
          </p:cNvSpPr>
          <p:nvPr/>
        </p:nvSpPr>
        <p:spPr>
          <a:xfrm>
            <a:off x="1152169" y="4153195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Pricing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AB6F83DA-4023-4631-9F33-BCEF4FB38339}"/>
              </a:ext>
            </a:extLst>
          </p:cNvPr>
          <p:cNvSpPr txBox="1">
            <a:spLocks/>
          </p:cNvSpPr>
          <p:nvPr/>
        </p:nvSpPr>
        <p:spPr>
          <a:xfrm>
            <a:off x="1152169" y="4958274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Agile support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20F51D2-CAD6-4F24-91A5-AF586476AA97}"/>
              </a:ext>
            </a:extLst>
          </p:cNvPr>
          <p:cNvSpPr txBox="1">
            <a:spLocks/>
          </p:cNvSpPr>
          <p:nvPr/>
        </p:nvSpPr>
        <p:spPr>
          <a:xfrm>
            <a:off x="1152169" y="5686841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Total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B078844B-AACA-4CE1-BBC6-02B2525CBB70}"/>
              </a:ext>
            </a:extLst>
          </p:cNvPr>
          <p:cNvSpPr txBox="1">
            <a:spLocks/>
          </p:cNvSpPr>
          <p:nvPr/>
        </p:nvSpPr>
        <p:spPr>
          <a:xfrm>
            <a:off x="1152169" y="1604792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Commercial strategy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B4BEE892-0C4E-4EFE-AE6E-E379A8CB47D5}"/>
              </a:ext>
            </a:extLst>
          </p:cNvPr>
          <p:cNvSpPr txBox="1">
            <a:spLocks/>
          </p:cNvSpPr>
          <p:nvPr/>
        </p:nvSpPr>
        <p:spPr>
          <a:xfrm>
            <a:off x="1152169" y="2007331"/>
            <a:ext cx="2174043" cy="22468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Innovation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3C0B0FB1-6A63-4EB5-A50F-82A9B7037608}"/>
              </a:ext>
            </a:extLst>
          </p:cNvPr>
          <p:cNvSpPr txBox="1">
            <a:spLocks/>
          </p:cNvSpPr>
          <p:nvPr/>
        </p:nvSpPr>
        <p:spPr>
          <a:xfrm>
            <a:off x="1152169" y="2409871"/>
            <a:ext cx="2174043" cy="4493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600" dirty="0">
                <a:latin typeface="+mn-lt"/>
              </a:rPr>
              <a:t>Product developmen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E4E184-3D8A-4F35-8645-9DAB27C96632}"/>
              </a:ext>
            </a:extLst>
          </p:cNvPr>
          <p:cNvGrpSpPr/>
          <p:nvPr/>
        </p:nvGrpSpPr>
        <p:grpSpPr>
          <a:xfrm>
            <a:off x="4894861" y="1167647"/>
            <a:ext cx="1131970" cy="4767140"/>
            <a:chOff x="3127160" y="662895"/>
            <a:chExt cx="930348" cy="3918037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2971C2C-2A88-42A1-9CC1-0D59F982F07B}"/>
                </a:ext>
              </a:extLst>
            </p:cNvPr>
            <p:cNvSpPr txBox="1">
              <a:spLocks/>
            </p:cNvSpPr>
            <p:nvPr/>
          </p:nvSpPr>
          <p:spPr>
            <a:xfrm>
              <a:off x="3127160" y="662895"/>
              <a:ext cx="93034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solidFill>
                    <a:schemeClr val="accent3"/>
                  </a:solidFill>
                  <a:latin typeface="Georgia" panose="02040502050405020303" pitchFamily="18" charset="0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Regions</a:t>
              </a:r>
              <a:endParaRPr lang="en-US" sz="1600" baseline="30000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32" name="Arrow: Down 231">
              <a:extLst>
                <a:ext uri="{FF2B5EF4-FFF2-40B4-BE49-F238E27FC236}">
                  <a16:creationId xmlns:a16="http://schemas.microsoft.com/office/drawing/2014/main" id="{2F4E030C-E568-46B1-BDB6-B6700EADC367}"/>
                </a:ext>
              </a:extLst>
            </p:cNvPr>
            <p:cNvSpPr>
              <a:spLocks/>
            </p:cNvSpPr>
            <p:nvPr/>
          </p:nvSpPr>
          <p:spPr>
            <a:xfrm>
              <a:off x="3550418" y="3416065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6" name="Minus Sign 235">
              <a:extLst>
                <a:ext uri="{FF2B5EF4-FFF2-40B4-BE49-F238E27FC236}">
                  <a16:creationId xmlns:a16="http://schemas.microsoft.com/office/drawing/2014/main" id="{D2EA7575-113A-4DC6-BFB4-18188E151573}"/>
                </a:ext>
              </a:extLst>
            </p:cNvPr>
            <p:cNvSpPr>
              <a:spLocks/>
            </p:cNvSpPr>
            <p:nvPr/>
          </p:nvSpPr>
          <p:spPr>
            <a:xfrm>
              <a:off x="3442320" y="4083463"/>
              <a:ext cx="300028" cy="160906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2" name="Arrow: Down 241">
              <a:extLst>
                <a:ext uri="{FF2B5EF4-FFF2-40B4-BE49-F238E27FC236}">
                  <a16:creationId xmlns:a16="http://schemas.microsoft.com/office/drawing/2014/main" id="{86FE4D0D-746F-4387-8C06-A33BD31088FA}"/>
                </a:ext>
              </a:extLst>
            </p:cNvPr>
            <p:cNvSpPr>
              <a:spLocks/>
            </p:cNvSpPr>
            <p:nvPr/>
          </p:nvSpPr>
          <p:spPr>
            <a:xfrm rot="10800000">
              <a:off x="3550418" y="2423543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6" name="Arrow: Down 245">
              <a:extLst>
                <a:ext uri="{FF2B5EF4-FFF2-40B4-BE49-F238E27FC236}">
                  <a16:creationId xmlns:a16="http://schemas.microsoft.com/office/drawing/2014/main" id="{2E66EF4E-5E4D-4112-AE05-13CC45E7CFED}"/>
                </a:ext>
              </a:extLst>
            </p:cNvPr>
            <p:cNvSpPr>
              <a:spLocks/>
            </p:cNvSpPr>
            <p:nvPr/>
          </p:nvSpPr>
          <p:spPr>
            <a:xfrm rot="10800000">
              <a:off x="3550418" y="2037978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4" name="Arrow: Down 253">
              <a:extLst>
                <a:ext uri="{FF2B5EF4-FFF2-40B4-BE49-F238E27FC236}">
                  <a16:creationId xmlns:a16="http://schemas.microsoft.com/office/drawing/2014/main" id="{C1293702-E8D1-4381-B79F-E604B8EE64A5}"/>
                </a:ext>
              </a:extLst>
            </p:cNvPr>
            <p:cNvSpPr>
              <a:spLocks/>
            </p:cNvSpPr>
            <p:nvPr/>
          </p:nvSpPr>
          <p:spPr>
            <a:xfrm rot="10800000">
              <a:off x="3550418" y="2754383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9" name="Arrow: Down 258">
              <a:extLst>
                <a:ext uri="{FF2B5EF4-FFF2-40B4-BE49-F238E27FC236}">
                  <a16:creationId xmlns:a16="http://schemas.microsoft.com/office/drawing/2014/main" id="{2FCE3AC8-15C1-4667-9575-6174493702FA}"/>
                </a:ext>
              </a:extLst>
            </p:cNvPr>
            <p:cNvSpPr>
              <a:spLocks/>
            </p:cNvSpPr>
            <p:nvPr/>
          </p:nvSpPr>
          <p:spPr>
            <a:xfrm>
              <a:off x="3550418" y="3085224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5" name="Arrow: Down 264">
              <a:extLst>
                <a:ext uri="{FF2B5EF4-FFF2-40B4-BE49-F238E27FC236}">
                  <a16:creationId xmlns:a16="http://schemas.microsoft.com/office/drawing/2014/main" id="{EB38F13F-017B-41CD-A512-D9A1C3BBD324}"/>
                </a:ext>
              </a:extLst>
            </p:cNvPr>
            <p:cNvSpPr>
              <a:spLocks/>
            </p:cNvSpPr>
            <p:nvPr/>
          </p:nvSpPr>
          <p:spPr>
            <a:xfrm rot="10800000">
              <a:off x="3550418" y="3746906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1" name="Arrow: Down 270">
              <a:extLst>
                <a:ext uri="{FF2B5EF4-FFF2-40B4-BE49-F238E27FC236}">
                  <a16:creationId xmlns:a16="http://schemas.microsoft.com/office/drawing/2014/main" id="{CD64EA0F-E4F4-4470-BC8E-4C2B5AFD7B61}"/>
                </a:ext>
              </a:extLst>
            </p:cNvPr>
            <p:cNvSpPr>
              <a:spLocks/>
            </p:cNvSpPr>
            <p:nvPr/>
          </p:nvSpPr>
          <p:spPr>
            <a:xfrm>
              <a:off x="3550418" y="4345703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7" name="Arrow: Down 276">
              <a:extLst>
                <a:ext uri="{FF2B5EF4-FFF2-40B4-BE49-F238E27FC236}">
                  <a16:creationId xmlns:a16="http://schemas.microsoft.com/office/drawing/2014/main" id="{72EB7E92-86D8-4696-B42C-78CFC2C79D8B}"/>
                </a:ext>
              </a:extLst>
            </p:cNvPr>
            <p:cNvSpPr>
              <a:spLocks/>
            </p:cNvSpPr>
            <p:nvPr/>
          </p:nvSpPr>
          <p:spPr>
            <a:xfrm>
              <a:off x="3550418" y="990732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4" name="Minus Sign 283">
              <a:extLst>
                <a:ext uri="{FF2B5EF4-FFF2-40B4-BE49-F238E27FC236}">
                  <a16:creationId xmlns:a16="http://schemas.microsoft.com/office/drawing/2014/main" id="{1A79E910-337A-4D52-B12E-132BE27AB066}"/>
                </a:ext>
              </a:extLst>
            </p:cNvPr>
            <p:cNvSpPr>
              <a:spLocks/>
            </p:cNvSpPr>
            <p:nvPr/>
          </p:nvSpPr>
          <p:spPr>
            <a:xfrm>
              <a:off x="3442320" y="135873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6" name="Arrow: Down 285">
              <a:extLst>
                <a:ext uri="{FF2B5EF4-FFF2-40B4-BE49-F238E27FC236}">
                  <a16:creationId xmlns:a16="http://schemas.microsoft.com/office/drawing/2014/main" id="{A7D3AD52-E895-4857-A54B-46D793E92782}"/>
                </a:ext>
              </a:extLst>
            </p:cNvPr>
            <p:cNvSpPr>
              <a:spLocks/>
            </p:cNvSpPr>
            <p:nvPr/>
          </p:nvSpPr>
          <p:spPr>
            <a:xfrm>
              <a:off x="3550418" y="1652413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44DAF49-DF5D-4146-BE98-B8CD9B4D7FB9}"/>
              </a:ext>
            </a:extLst>
          </p:cNvPr>
          <p:cNvGrpSpPr/>
          <p:nvPr/>
        </p:nvGrpSpPr>
        <p:grpSpPr>
          <a:xfrm>
            <a:off x="7443942" y="1168086"/>
            <a:ext cx="1123098" cy="4721486"/>
            <a:chOff x="5131150" y="663256"/>
            <a:chExt cx="923057" cy="3880515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A23D12D-8CD3-4792-9DD7-C109931964C8}"/>
                </a:ext>
              </a:extLst>
            </p:cNvPr>
            <p:cNvSpPr txBox="1">
              <a:spLocks/>
            </p:cNvSpPr>
            <p:nvPr/>
          </p:nvSpPr>
          <p:spPr>
            <a:xfrm>
              <a:off x="5131150" y="663256"/>
              <a:ext cx="923057" cy="17591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solidFill>
                    <a:schemeClr val="accent3"/>
                  </a:solidFill>
                  <a:latin typeface="Georgia" panose="02040502050405020303" pitchFamily="18" charset="0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Total</a:t>
              </a:r>
            </a:p>
          </p:txBody>
        </p:sp>
        <p:sp>
          <p:nvSpPr>
            <p:cNvPr id="233" name="Arrow: Down 232">
              <a:extLst>
                <a:ext uri="{FF2B5EF4-FFF2-40B4-BE49-F238E27FC236}">
                  <a16:creationId xmlns:a16="http://schemas.microsoft.com/office/drawing/2014/main" id="{351173B1-BB48-4995-BB8F-E0700F38ECE6}"/>
                </a:ext>
              </a:extLst>
            </p:cNvPr>
            <p:cNvSpPr>
              <a:spLocks/>
            </p:cNvSpPr>
            <p:nvPr/>
          </p:nvSpPr>
          <p:spPr>
            <a:xfrm>
              <a:off x="5550762" y="3416065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9" name="Minus Sign 238">
              <a:extLst>
                <a:ext uri="{FF2B5EF4-FFF2-40B4-BE49-F238E27FC236}">
                  <a16:creationId xmlns:a16="http://schemas.microsoft.com/office/drawing/2014/main" id="{17F57FC1-E795-46AC-93F9-1979BAB67202}"/>
                </a:ext>
              </a:extLst>
            </p:cNvPr>
            <p:cNvSpPr>
              <a:spLocks/>
            </p:cNvSpPr>
            <p:nvPr/>
          </p:nvSpPr>
          <p:spPr>
            <a:xfrm>
              <a:off x="5442664" y="4083463"/>
              <a:ext cx="300028" cy="160906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4" name="Minus Sign 243">
              <a:extLst>
                <a:ext uri="{FF2B5EF4-FFF2-40B4-BE49-F238E27FC236}">
                  <a16:creationId xmlns:a16="http://schemas.microsoft.com/office/drawing/2014/main" id="{CA8E528C-43DF-4A1C-AE93-9CFBC2B57C75}"/>
                </a:ext>
              </a:extLst>
            </p:cNvPr>
            <p:cNvSpPr>
              <a:spLocks/>
            </p:cNvSpPr>
            <p:nvPr/>
          </p:nvSpPr>
          <p:spPr>
            <a:xfrm>
              <a:off x="5442664" y="246070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9" name="Minus Sign 248">
              <a:extLst>
                <a:ext uri="{FF2B5EF4-FFF2-40B4-BE49-F238E27FC236}">
                  <a16:creationId xmlns:a16="http://schemas.microsoft.com/office/drawing/2014/main" id="{B455E71D-833D-4D8F-AC82-9A07899AE0C8}"/>
                </a:ext>
              </a:extLst>
            </p:cNvPr>
            <p:cNvSpPr>
              <a:spLocks/>
            </p:cNvSpPr>
            <p:nvPr/>
          </p:nvSpPr>
          <p:spPr>
            <a:xfrm>
              <a:off x="5442664" y="2075139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3" name="Arrow: Down 252">
              <a:extLst>
                <a:ext uri="{FF2B5EF4-FFF2-40B4-BE49-F238E27FC236}">
                  <a16:creationId xmlns:a16="http://schemas.microsoft.com/office/drawing/2014/main" id="{AAC6664C-3B78-47BF-8609-1FF6F0FC9767}"/>
                </a:ext>
              </a:extLst>
            </p:cNvPr>
            <p:cNvSpPr>
              <a:spLocks/>
            </p:cNvSpPr>
            <p:nvPr/>
          </p:nvSpPr>
          <p:spPr>
            <a:xfrm rot="10800000">
              <a:off x="5550762" y="2754383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0" name="Arrow: Down 259">
              <a:extLst>
                <a:ext uri="{FF2B5EF4-FFF2-40B4-BE49-F238E27FC236}">
                  <a16:creationId xmlns:a16="http://schemas.microsoft.com/office/drawing/2014/main" id="{51A6994D-9B02-4A81-8AF9-D32E21D2962E}"/>
                </a:ext>
              </a:extLst>
            </p:cNvPr>
            <p:cNvSpPr>
              <a:spLocks/>
            </p:cNvSpPr>
            <p:nvPr/>
          </p:nvSpPr>
          <p:spPr>
            <a:xfrm>
              <a:off x="5550762" y="3085224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6" name="Arrow: Down 265">
              <a:extLst>
                <a:ext uri="{FF2B5EF4-FFF2-40B4-BE49-F238E27FC236}">
                  <a16:creationId xmlns:a16="http://schemas.microsoft.com/office/drawing/2014/main" id="{695D419B-B6D6-4543-87E0-44A58B2CD63F}"/>
                </a:ext>
              </a:extLst>
            </p:cNvPr>
            <p:cNvSpPr>
              <a:spLocks/>
            </p:cNvSpPr>
            <p:nvPr/>
          </p:nvSpPr>
          <p:spPr>
            <a:xfrm rot="10800000">
              <a:off x="5550762" y="3746906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2" name="Minus Sign 271">
              <a:extLst>
                <a:ext uri="{FF2B5EF4-FFF2-40B4-BE49-F238E27FC236}">
                  <a16:creationId xmlns:a16="http://schemas.microsoft.com/office/drawing/2014/main" id="{C0E9A2EE-4A4C-416F-92AF-333F053E39B9}"/>
                </a:ext>
              </a:extLst>
            </p:cNvPr>
            <p:cNvSpPr>
              <a:spLocks/>
            </p:cNvSpPr>
            <p:nvPr/>
          </p:nvSpPr>
          <p:spPr>
            <a:xfrm>
              <a:off x="5442664" y="438286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8" name="Minus Sign 277">
              <a:extLst>
                <a:ext uri="{FF2B5EF4-FFF2-40B4-BE49-F238E27FC236}">
                  <a16:creationId xmlns:a16="http://schemas.microsoft.com/office/drawing/2014/main" id="{0119B908-8C92-42A4-A375-A293C6CD9A07}"/>
                </a:ext>
              </a:extLst>
            </p:cNvPr>
            <p:cNvSpPr>
              <a:spLocks/>
            </p:cNvSpPr>
            <p:nvPr/>
          </p:nvSpPr>
          <p:spPr>
            <a:xfrm>
              <a:off x="5442664" y="1027893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2" name="Arrow: Down 281">
              <a:extLst>
                <a:ext uri="{FF2B5EF4-FFF2-40B4-BE49-F238E27FC236}">
                  <a16:creationId xmlns:a16="http://schemas.microsoft.com/office/drawing/2014/main" id="{9567E631-AAB6-45D2-8D09-57CCAF376CD3}"/>
                </a:ext>
              </a:extLst>
            </p:cNvPr>
            <p:cNvSpPr>
              <a:spLocks/>
            </p:cNvSpPr>
            <p:nvPr/>
          </p:nvSpPr>
          <p:spPr>
            <a:xfrm rot="10800000">
              <a:off x="5550762" y="1321572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8" name="Minus Sign 287">
              <a:extLst>
                <a:ext uri="{FF2B5EF4-FFF2-40B4-BE49-F238E27FC236}">
                  <a16:creationId xmlns:a16="http://schemas.microsoft.com/office/drawing/2014/main" id="{4B3C287B-3427-4D35-B91B-6381CD7C524D}"/>
                </a:ext>
              </a:extLst>
            </p:cNvPr>
            <p:cNvSpPr>
              <a:spLocks/>
            </p:cNvSpPr>
            <p:nvPr/>
          </p:nvSpPr>
          <p:spPr>
            <a:xfrm>
              <a:off x="5442664" y="1689575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EF098B7-1837-4360-A6E2-3D85044832A2}"/>
              </a:ext>
            </a:extLst>
          </p:cNvPr>
          <p:cNvGrpSpPr/>
          <p:nvPr/>
        </p:nvGrpSpPr>
        <p:grpSpPr>
          <a:xfrm>
            <a:off x="3620321" y="1167647"/>
            <a:ext cx="1131970" cy="4767140"/>
            <a:chOff x="2089876" y="662895"/>
            <a:chExt cx="930348" cy="3918037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061B741-EF1F-420C-AEF9-14954F807589}"/>
                </a:ext>
              </a:extLst>
            </p:cNvPr>
            <p:cNvSpPr txBox="1">
              <a:spLocks/>
            </p:cNvSpPr>
            <p:nvPr/>
          </p:nvSpPr>
          <p:spPr>
            <a:xfrm>
              <a:off x="2089876" y="662895"/>
              <a:ext cx="93034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solidFill>
                    <a:schemeClr val="accent3"/>
                  </a:solidFill>
                  <a:latin typeface="Georgia" panose="02040502050405020303" pitchFamily="18" charset="0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Global</a:t>
              </a:r>
            </a:p>
          </p:txBody>
        </p:sp>
        <p:sp>
          <p:nvSpPr>
            <p:cNvPr id="231" name="Arrow: Down 230">
              <a:extLst>
                <a:ext uri="{FF2B5EF4-FFF2-40B4-BE49-F238E27FC236}">
                  <a16:creationId xmlns:a16="http://schemas.microsoft.com/office/drawing/2014/main" id="{99A2B466-1807-4F2C-9C6C-105B2AFF5048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3416065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7" name="Minus Sign 236">
              <a:extLst>
                <a:ext uri="{FF2B5EF4-FFF2-40B4-BE49-F238E27FC236}">
                  <a16:creationId xmlns:a16="http://schemas.microsoft.com/office/drawing/2014/main" id="{D56F7192-C2EA-469B-AAC5-9FD7459B8258}"/>
                </a:ext>
              </a:extLst>
            </p:cNvPr>
            <p:cNvSpPr>
              <a:spLocks/>
            </p:cNvSpPr>
            <p:nvPr/>
          </p:nvSpPr>
          <p:spPr>
            <a:xfrm>
              <a:off x="2405036" y="4083463"/>
              <a:ext cx="300028" cy="160906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1" name="Arrow: Down 240">
              <a:extLst>
                <a:ext uri="{FF2B5EF4-FFF2-40B4-BE49-F238E27FC236}">
                  <a16:creationId xmlns:a16="http://schemas.microsoft.com/office/drawing/2014/main" id="{38870245-E2A3-47D8-9CCA-AEA6A700A8AC}"/>
                </a:ext>
              </a:extLst>
            </p:cNvPr>
            <p:cNvSpPr>
              <a:spLocks/>
            </p:cNvSpPr>
            <p:nvPr/>
          </p:nvSpPr>
          <p:spPr>
            <a:xfrm>
              <a:off x="2513134" y="2423543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7" name="Arrow: Down 246">
              <a:extLst>
                <a:ext uri="{FF2B5EF4-FFF2-40B4-BE49-F238E27FC236}">
                  <a16:creationId xmlns:a16="http://schemas.microsoft.com/office/drawing/2014/main" id="{BB5311C4-A650-4561-A02C-9FD76D495405}"/>
                </a:ext>
              </a:extLst>
            </p:cNvPr>
            <p:cNvSpPr>
              <a:spLocks/>
            </p:cNvSpPr>
            <p:nvPr/>
          </p:nvSpPr>
          <p:spPr>
            <a:xfrm>
              <a:off x="2513134" y="2037978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2" name="Arrow: Down 251">
              <a:extLst>
                <a:ext uri="{FF2B5EF4-FFF2-40B4-BE49-F238E27FC236}">
                  <a16:creationId xmlns:a16="http://schemas.microsoft.com/office/drawing/2014/main" id="{20B0AAEE-F820-4247-9FA9-16B343F139C6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2754383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8" name="Arrow: Down 257">
              <a:extLst>
                <a:ext uri="{FF2B5EF4-FFF2-40B4-BE49-F238E27FC236}">
                  <a16:creationId xmlns:a16="http://schemas.microsoft.com/office/drawing/2014/main" id="{1E8B6E69-955F-4ACE-928F-D0FCEE3D28B2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3085224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4" name="Arrow: Down 263">
              <a:extLst>
                <a:ext uri="{FF2B5EF4-FFF2-40B4-BE49-F238E27FC236}">
                  <a16:creationId xmlns:a16="http://schemas.microsoft.com/office/drawing/2014/main" id="{471CE989-1F54-43AB-9593-5EE172E88D82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3746906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0" name="Arrow: Down 269">
              <a:extLst>
                <a:ext uri="{FF2B5EF4-FFF2-40B4-BE49-F238E27FC236}">
                  <a16:creationId xmlns:a16="http://schemas.microsoft.com/office/drawing/2014/main" id="{CFE07699-BA87-4F9F-B4A6-61605996AA86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4345703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6" name="Arrow: Down 275">
              <a:extLst>
                <a:ext uri="{FF2B5EF4-FFF2-40B4-BE49-F238E27FC236}">
                  <a16:creationId xmlns:a16="http://schemas.microsoft.com/office/drawing/2014/main" id="{D555BE71-EEBA-4F2B-AE68-D0BE93A482AE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990732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1" name="Arrow: Down 280">
              <a:extLst>
                <a:ext uri="{FF2B5EF4-FFF2-40B4-BE49-F238E27FC236}">
                  <a16:creationId xmlns:a16="http://schemas.microsoft.com/office/drawing/2014/main" id="{E90882D3-08D1-488C-A85C-811800EE8828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1321572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9" name="Arrow: Down 288">
              <a:extLst>
                <a:ext uri="{FF2B5EF4-FFF2-40B4-BE49-F238E27FC236}">
                  <a16:creationId xmlns:a16="http://schemas.microsoft.com/office/drawing/2014/main" id="{22044B0F-B21A-4691-A096-9E072CABFB39}"/>
                </a:ext>
              </a:extLst>
            </p:cNvPr>
            <p:cNvSpPr>
              <a:spLocks/>
            </p:cNvSpPr>
            <p:nvPr/>
          </p:nvSpPr>
          <p:spPr>
            <a:xfrm rot="10800000">
              <a:off x="2513134" y="1652408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6093A4E-6085-419A-B44E-F07896C3CC2F}"/>
              </a:ext>
            </a:extLst>
          </p:cNvPr>
          <p:cNvGrpSpPr/>
          <p:nvPr/>
        </p:nvGrpSpPr>
        <p:grpSpPr>
          <a:xfrm>
            <a:off x="6169402" y="1167647"/>
            <a:ext cx="1131970" cy="4767140"/>
            <a:chOff x="4129989" y="662895"/>
            <a:chExt cx="930348" cy="391803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BEAFAF72-A7FC-4787-817D-56B19744CBE5}"/>
                </a:ext>
              </a:extLst>
            </p:cNvPr>
            <p:cNvSpPr txBox="1">
              <a:spLocks/>
            </p:cNvSpPr>
            <p:nvPr/>
          </p:nvSpPr>
          <p:spPr>
            <a:xfrm>
              <a:off x="4129989" y="662895"/>
              <a:ext cx="93034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800" baseline="0">
                  <a:solidFill>
                    <a:schemeClr val="accent3"/>
                  </a:solidFill>
                  <a:latin typeface="Georgia" panose="02040502050405020303" pitchFamily="18" charset="0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600" dirty="0">
                  <a:solidFill>
                    <a:srgbClr val="FFFFFF"/>
                  </a:solidFill>
                  <a:latin typeface="+mn-lt"/>
                </a:rPr>
                <a:t>Country</a:t>
              </a:r>
            </a:p>
          </p:txBody>
        </p:sp>
        <p:sp>
          <p:nvSpPr>
            <p:cNvPr id="238" name="Minus Sign 237">
              <a:extLst>
                <a:ext uri="{FF2B5EF4-FFF2-40B4-BE49-F238E27FC236}">
                  <a16:creationId xmlns:a16="http://schemas.microsoft.com/office/drawing/2014/main" id="{7DE6F05C-4D49-45D4-900A-B2D4185FB181}"/>
                </a:ext>
              </a:extLst>
            </p:cNvPr>
            <p:cNvSpPr>
              <a:spLocks/>
            </p:cNvSpPr>
            <p:nvPr/>
          </p:nvSpPr>
          <p:spPr>
            <a:xfrm>
              <a:off x="4445149" y="4083463"/>
              <a:ext cx="300028" cy="160906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3" name="Minus Sign 242">
              <a:extLst>
                <a:ext uri="{FF2B5EF4-FFF2-40B4-BE49-F238E27FC236}">
                  <a16:creationId xmlns:a16="http://schemas.microsoft.com/office/drawing/2014/main" id="{AB589C87-6770-4B29-8365-AE707C9459FD}"/>
                </a:ext>
              </a:extLst>
            </p:cNvPr>
            <p:cNvSpPr>
              <a:spLocks/>
            </p:cNvSpPr>
            <p:nvPr/>
          </p:nvSpPr>
          <p:spPr>
            <a:xfrm>
              <a:off x="4445149" y="246070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8" name="Minus Sign 247">
              <a:extLst>
                <a:ext uri="{FF2B5EF4-FFF2-40B4-BE49-F238E27FC236}">
                  <a16:creationId xmlns:a16="http://schemas.microsoft.com/office/drawing/2014/main" id="{08495FA1-71F6-432F-93E8-D8EA12E03908}"/>
                </a:ext>
              </a:extLst>
            </p:cNvPr>
            <p:cNvSpPr>
              <a:spLocks/>
            </p:cNvSpPr>
            <p:nvPr/>
          </p:nvSpPr>
          <p:spPr>
            <a:xfrm>
              <a:off x="4445149" y="2075139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5" name="Minus Sign 254">
              <a:extLst>
                <a:ext uri="{FF2B5EF4-FFF2-40B4-BE49-F238E27FC236}">
                  <a16:creationId xmlns:a16="http://schemas.microsoft.com/office/drawing/2014/main" id="{3D6E5FA2-AEEB-4D76-A9B0-84C83B193BEE}"/>
                </a:ext>
              </a:extLst>
            </p:cNvPr>
            <p:cNvSpPr>
              <a:spLocks/>
            </p:cNvSpPr>
            <p:nvPr/>
          </p:nvSpPr>
          <p:spPr>
            <a:xfrm>
              <a:off x="4445149" y="279154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1" name="Minus Sign 260">
              <a:extLst>
                <a:ext uri="{FF2B5EF4-FFF2-40B4-BE49-F238E27FC236}">
                  <a16:creationId xmlns:a16="http://schemas.microsoft.com/office/drawing/2014/main" id="{8C113AA2-0A8C-4EAE-952B-34C1EF1CE621}"/>
                </a:ext>
              </a:extLst>
            </p:cNvPr>
            <p:cNvSpPr>
              <a:spLocks/>
            </p:cNvSpPr>
            <p:nvPr/>
          </p:nvSpPr>
          <p:spPr>
            <a:xfrm>
              <a:off x="4445149" y="3122385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7" name="Minus Sign 266">
              <a:extLst>
                <a:ext uri="{FF2B5EF4-FFF2-40B4-BE49-F238E27FC236}">
                  <a16:creationId xmlns:a16="http://schemas.microsoft.com/office/drawing/2014/main" id="{70D50992-B5B4-4214-8765-E9F94251BBDB}"/>
                </a:ext>
              </a:extLst>
            </p:cNvPr>
            <p:cNvSpPr>
              <a:spLocks/>
            </p:cNvSpPr>
            <p:nvPr/>
          </p:nvSpPr>
          <p:spPr>
            <a:xfrm>
              <a:off x="4445149" y="3784067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3" name="Arrow: Down 272">
              <a:extLst>
                <a:ext uri="{FF2B5EF4-FFF2-40B4-BE49-F238E27FC236}">
                  <a16:creationId xmlns:a16="http://schemas.microsoft.com/office/drawing/2014/main" id="{F7F22A9E-6B65-49CC-B106-3B9DA6E65986}"/>
                </a:ext>
              </a:extLst>
            </p:cNvPr>
            <p:cNvSpPr>
              <a:spLocks/>
            </p:cNvSpPr>
            <p:nvPr/>
          </p:nvSpPr>
          <p:spPr>
            <a:xfrm>
              <a:off x="4553247" y="4345703"/>
              <a:ext cx="83833" cy="235229"/>
            </a:xfrm>
            <a:prstGeom prst="downArrow">
              <a:avLst/>
            </a:prstGeom>
            <a:solidFill>
              <a:srgbClr val="C0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9" name="Minus Sign 278">
              <a:extLst>
                <a:ext uri="{FF2B5EF4-FFF2-40B4-BE49-F238E27FC236}">
                  <a16:creationId xmlns:a16="http://schemas.microsoft.com/office/drawing/2014/main" id="{97F0D814-2884-4A1A-B282-F6DF485E567E}"/>
                </a:ext>
              </a:extLst>
            </p:cNvPr>
            <p:cNvSpPr>
              <a:spLocks/>
            </p:cNvSpPr>
            <p:nvPr/>
          </p:nvSpPr>
          <p:spPr>
            <a:xfrm>
              <a:off x="4445149" y="1027893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3" name="Minus Sign 282">
              <a:extLst>
                <a:ext uri="{FF2B5EF4-FFF2-40B4-BE49-F238E27FC236}">
                  <a16:creationId xmlns:a16="http://schemas.microsoft.com/office/drawing/2014/main" id="{556B12DC-5210-4F76-9085-523AD05ABC42}"/>
                </a:ext>
              </a:extLst>
            </p:cNvPr>
            <p:cNvSpPr>
              <a:spLocks/>
            </p:cNvSpPr>
            <p:nvPr/>
          </p:nvSpPr>
          <p:spPr>
            <a:xfrm>
              <a:off x="4445149" y="1358734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7" name="Minus Sign 286">
              <a:extLst>
                <a:ext uri="{FF2B5EF4-FFF2-40B4-BE49-F238E27FC236}">
                  <a16:creationId xmlns:a16="http://schemas.microsoft.com/office/drawing/2014/main" id="{D76F448B-713B-4950-9E06-071F73F73C27}"/>
                </a:ext>
              </a:extLst>
            </p:cNvPr>
            <p:cNvSpPr>
              <a:spLocks/>
            </p:cNvSpPr>
            <p:nvPr/>
          </p:nvSpPr>
          <p:spPr>
            <a:xfrm>
              <a:off x="4445149" y="1689575"/>
              <a:ext cx="300028" cy="160907"/>
            </a:xfrm>
            <a:prstGeom prst="mathMinus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0" name="Arrow: Down 289">
              <a:extLst>
                <a:ext uri="{FF2B5EF4-FFF2-40B4-BE49-F238E27FC236}">
                  <a16:creationId xmlns:a16="http://schemas.microsoft.com/office/drawing/2014/main" id="{9AF2C41B-0B19-4CC0-B934-198D363A1402}"/>
                </a:ext>
              </a:extLst>
            </p:cNvPr>
            <p:cNvSpPr>
              <a:spLocks/>
            </p:cNvSpPr>
            <p:nvPr/>
          </p:nvSpPr>
          <p:spPr>
            <a:xfrm rot="10800000">
              <a:off x="4553247" y="3416065"/>
              <a:ext cx="83833" cy="235229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22961F65-143A-40FE-8715-5D7FD6911D1F}"/>
              </a:ext>
            </a:extLst>
          </p:cNvPr>
          <p:cNvGrpSpPr/>
          <p:nvPr/>
        </p:nvGrpSpPr>
        <p:grpSpPr>
          <a:xfrm>
            <a:off x="9107926" y="2729807"/>
            <a:ext cx="2060738" cy="1562044"/>
            <a:chOff x="9247909" y="2802268"/>
            <a:chExt cx="2213295" cy="1677683"/>
          </a:xfrm>
        </p:grpSpPr>
        <p:sp>
          <p:nvSpPr>
            <p:cNvPr id="292" name="Speech Bubble: Rectangle 291">
              <a:extLst>
                <a:ext uri="{FF2B5EF4-FFF2-40B4-BE49-F238E27FC236}">
                  <a16:creationId xmlns:a16="http://schemas.microsoft.com/office/drawing/2014/main" id="{E33CDC8E-CE67-4CB0-A869-C910C5997B3E}"/>
                </a:ext>
              </a:extLst>
            </p:cNvPr>
            <p:cNvSpPr/>
            <p:nvPr/>
          </p:nvSpPr>
          <p:spPr>
            <a:xfrm>
              <a:off x="9247909" y="2802268"/>
              <a:ext cx="2213295" cy="1659300"/>
            </a:xfrm>
            <a:prstGeom prst="wedgeRectCallout">
              <a:avLst>
                <a:gd name="adj1" fmla="val -70833"/>
                <a:gd name="adj2" fmla="val -23487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FDFD8EAE-D128-4440-A066-30DE1386F27C}"/>
                </a:ext>
              </a:extLst>
            </p:cNvPr>
            <p:cNvSpPr txBox="1"/>
            <p:nvPr/>
          </p:nvSpPr>
          <p:spPr>
            <a:xfrm>
              <a:off x="9350453" y="2893255"/>
              <a:ext cx="2008206" cy="15866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GB" dirty="0">
                  <a:solidFill>
                    <a:srgbClr val="000000"/>
                  </a:solidFill>
                </a:rPr>
                <a:t>Note reporting line does not imply location – Global capabilities should be located across the worl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4754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C0D6E4C-56E7-422E-ADF6-673EF36FF0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416786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6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60B588-891B-46B8-8D2D-A88D47D80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ase study – The new operating model built capabilities into agile squads</a:t>
            </a:r>
          </a:p>
        </p:txBody>
      </p:sp>
      <p:sp>
        <p:nvSpPr>
          <p:cNvPr id="91" name="Rectangle 3">
            <a:extLst>
              <a:ext uri="{FF2B5EF4-FFF2-40B4-BE49-F238E27FC236}">
                <a16:creationId xmlns:a16="http://schemas.microsoft.com/office/drawing/2014/main" id="{7E31C730-107A-4107-88C4-F44B9B6D986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1913" y="772349"/>
            <a:ext cx="10725289" cy="394212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lt1"/>
                </a:solidFill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lt1"/>
                </a:solidFill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lt1"/>
                </a:solidFill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lt1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lt1"/>
                </a:solidFill>
                <a:latin typeface="+mn-lt"/>
              </a:defRPr>
            </a:lvl9pPr>
          </a:lstStyle>
          <a:p>
            <a:pPr defTabSz="914367">
              <a:defRPr/>
            </a:pPr>
            <a:endParaRPr lang="en-US" sz="183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9" name="Picture 4" descr="https://mm.gettyimages.com/api/1.0/owners/249873912/assets/569662972/thumbnails/master/vn?signature=c206d208ec5c9cf2aa13924c503d6993">
            <a:extLst>
              <a:ext uri="{FF2B5EF4-FFF2-40B4-BE49-F238E27FC236}">
                <a16:creationId xmlns:a16="http://schemas.microsoft.com/office/drawing/2014/main" id="{AD181D0F-1B07-485D-85DE-865CA104E517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962" y="1228466"/>
            <a:ext cx="1894961" cy="510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3">
            <a:extLst>
              <a:ext uri="{FF2B5EF4-FFF2-40B4-BE49-F238E27FC236}">
                <a16:creationId xmlns:a16="http://schemas.microsoft.com/office/drawing/2014/main" id="{AEC7FA31-86E4-4965-9D67-4229D53A316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12962" y="1228465"/>
            <a:ext cx="1894961" cy="5104913"/>
          </a:xfrm>
          <a:prstGeom prst="rect">
            <a:avLst/>
          </a:prstGeom>
          <a:solidFill>
            <a:schemeClr val="accent3">
              <a:alpha val="70000"/>
            </a:schemeClr>
          </a:solidFill>
          <a:ln/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76199" tIns="76199" rIns="76199" bIns="76199" rtlCol="0" anchor="t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/>
            </a:lvl1pPr>
            <a:lvl2pPr marL="3600" lvl="1" indent="0" defTabSz="895350" eaLnBrk="1" latinLnBrk="0" hangingPunct="1">
              <a:spcBef>
                <a:spcPct val="55000"/>
              </a:spcBef>
              <a:buClr>
                <a:schemeClr val="tx2"/>
              </a:buClr>
              <a:buSzPct val="125000"/>
              <a:buFont typeface="Arial" charset="0"/>
              <a:buNone/>
              <a:defRPr sz="1500" b="1" baseline="0">
                <a:solidFill>
                  <a:schemeClr val="bg1"/>
                </a:solidFill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defTabSz="895317">
              <a:buClr>
                <a:srgbClr val="002960"/>
              </a:buClr>
              <a:defRPr/>
            </a:pPr>
            <a:endParaRPr lang="en-US" sz="1830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F315162-7A04-470D-A630-93BC5CC6A99A}"/>
              </a:ext>
            </a:extLst>
          </p:cNvPr>
          <p:cNvCxnSpPr>
            <a:cxnSpLocks/>
          </p:cNvCxnSpPr>
          <p:nvPr/>
        </p:nvCxnSpPr>
        <p:spPr>
          <a:xfrm>
            <a:off x="771719" y="4189336"/>
            <a:ext cx="1598897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CEDC0A8-39C2-49DB-BCB7-280977691CCC}"/>
              </a:ext>
            </a:extLst>
          </p:cNvPr>
          <p:cNvCxnSpPr>
            <a:cxnSpLocks/>
          </p:cNvCxnSpPr>
          <p:nvPr/>
        </p:nvCxnSpPr>
        <p:spPr>
          <a:xfrm>
            <a:off x="2656488" y="4189336"/>
            <a:ext cx="8511517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6FC3860-FE21-40CC-B8BE-428929EAA400}"/>
              </a:ext>
            </a:extLst>
          </p:cNvPr>
          <p:cNvCxnSpPr>
            <a:cxnSpLocks/>
          </p:cNvCxnSpPr>
          <p:nvPr/>
        </p:nvCxnSpPr>
        <p:spPr>
          <a:xfrm>
            <a:off x="771719" y="2796867"/>
            <a:ext cx="1598897" cy="0"/>
          </a:xfrm>
          <a:prstGeom prst="line">
            <a:avLst/>
          </a:prstGeom>
          <a:ln>
            <a:gradFill flip="none" rotWithShape="1">
              <a:gsLst>
                <a:gs pos="100000">
                  <a:schemeClr val="accent2">
                    <a:lumMod val="89000"/>
                    <a:alpha val="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20C9E50-1407-4EFF-A9C9-8F89B158F5FA}"/>
              </a:ext>
            </a:extLst>
          </p:cNvPr>
          <p:cNvCxnSpPr>
            <a:cxnSpLocks/>
          </p:cNvCxnSpPr>
          <p:nvPr/>
        </p:nvCxnSpPr>
        <p:spPr>
          <a:xfrm>
            <a:off x="2656488" y="2796867"/>
            <a:ext cx="8511517" cy="0"/>
          </a:xfrm>
          <a:prstGeom prst="line">
            <a:avLst/>
          </a:prstGeom>
          <a:ln w="9525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0057F61-7F12-4077-B648-0E5125A5F9DB}"/>
              </a:ext>
            </a:extLst>
          </p:cNvPr>
          <p:cNvSpPr txBox="1">
            <a:spLocks/>
          </p:cNvSpPr>
          <p:nvPr/>
        </p:nvSpPr>
        <p:spPr>
          <a:xfrm>
            <a:off x="4088072" y="808578"/>
            <a:ext cx="7079931" cy="321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800" baseline="0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95317">
              <a:buClr>
                <a:srgbClr val="002960"/>
              </a:buClr>
              <a:defRPr/>
            </a:pPr>
            <a:r>
              <a:rPr lang="en-US" sz="2091" dirty="0">
                <a:solidFill>
                  <a:srgbClr val="FFFFFF"/>
                </a:solidFill>
              </a:rPr>
              <a:t>Approach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CEF7F5-5F3F-4F9C-BCE4-700F64B30A60}"/>
              </a:ext>
            </a:extLst>
          </p:cNvPr>
          <p:cNvGrpSpPr/>
          <p:nvPr/>
        </p:nvGrpSpPr>
        <p:grpSpPr>
          <a:xfrm>
            <a:off x="771718" y="1398756"/>
            <a:ext cx="10396285" cy="1203405"/>
            <a:chOff x="121556" y="1070354"/>
            <a:chExt cx="7955706" cy="920900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3DE0696-46D0-41C7-BD80-484C1DF34663}"/>
                </a:ext>
              </a:extLst>
            </p:cNvPr>
            <p:cNvSpPr txBox="1">
              <a:spLocks/>
            </p:cNvSpPr>
            <p:nvPr/>
          </p:nvSpPr>
          <p:spPr>
            <a:xfrm>
              <a:off x="121556" y="1317796"/>
              <a:ext cx="1223548" cy="43101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830" dirty="0">
                  <a:solidFill>
                    <a:srgbClr val="FFFFFF"/>
                  </a:solidFill>
                  <a:latin typeface="Georgia" panose="02040502050405020303" pitchFamily="18" charset="0"/>
                </a:rPr>
                <a:t>Capability</a:t>
              </a:r>
            </a:p>
            <a:p>
              <a:pPr defTabSz="895317">
                <a:buClr>
                  <a:srgbClr val="002960"/>
                </a:buClr>
                <a:defRPr/>
              </a:pPr>
              <a:r>
                <a:rPr lang="en-US" sz="1830" dirty="0">
                  <a:solidFill>
                    <a:srgbClr val="FFFFFF"/>
                  </a:solidFill>
                  <a:latin typeface="Georgia" panose="02040502050405020303" pitchFamily="18" charset="0"/>
                </a:rPr>
                <a:t>center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701BEA6-8234-4BB3-84C5-D6D0DB7E714D}"/>
                </a:ext>
              </a:extLst>
            </p:cNvPr>
            <p:cNvSpPr txBox="1">
              <a:spLocks/>
            </p:cNvSpPr>
            <p:nvPr/>
          </p:nvSpPr>
          <p:spPr>
            <a:xfrm>
              <a:off x="2659379" y="1070354"/>
              <a:ext cx="5417883" cy="9209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194393" lvl="1" indent="-190793" defTabSz="895317">
                <a:spcBef>
                  <a:spcPts val="600"/>
                </a:spcBef>
                <a:buClr>
                  <a:srgbClr val="002960"/>
                </a:buClr>
                <a:defRPr/>
              </a:pPr>
              <a:r>
                <a:rPr lang="en-US" sz="1830" b="1" dirty="0">
                  <a:solidFill>
                    <a:schemeClr val="accent4"/>
                  </a:solidFill>
                  <a:latin typeface="Arial"/>
                </a:rPr>
                <a:t>Enabling team: </a:t>
              </a:r>
              <a:r>
                <a:rPr lang="en-US" sz="1830" dirty="0">
                  <a:solidFill>
                    <a:srgbClr val="000000"/>
                  </a:solidFill>
                  <a:latin typeface="Arial"/>
                </a:rPr>
                <a:t>deliver  services/expertise and platforms at the service of Themes and Regions </a:t>
              </a:r>
            </a:p>
            <a:p>
              <a:pPr marL="194393" lvl="1" indent="-190793" defTabSz="895317">
                <a:spcBef>
                  <a:spcPts val="600"/>
                </a:spcBef>
                <a:buClr>
                  <a:srgbClr val="002960"/>
                </a:buClr>
                <a:defRPr/>
              </a:pPr>
              <a:r>
                <a:rPr lang="en-US" sz="1830" b="1" dirty="0">
                  <a:solidFill>
                    <a:schemeClr val="accent4"/>
                  </a:solidFill>
                  <a:latin typeface="Arial"/>
                </a:rPr>
                <a:t>Staffable skill pool: </a:t>
              </a:r>
              <a:r>
                <a:rPr lang="en-US" sz="1830" dirty="0">
                  <a:solidFill>
                    <a:srgbClr val="000000"/>
                  </a:solidFill>
                  <a:latin typeface="Arial"/>
                </a:rPr>
                <a:t>Specialists in competencies to staff squads for Themes and Regions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CCA2CCD-C8DF-4136-9370-F830DF209928}"/>
                </a:ext>
              </a:extLst>
            </p:cNvPr>
            <p:cNvGrpSpPr>
              <a:grpSpLocks/>
            </p:cNvGrpSpPr>
            <p:nvPr/>
          </p:nvGrpSpPr>
          <p:grpSpPr>
            <a:xfrm>
              <a:off x="1636410" y="1172409"/>
              <a:ext cx="676238" cy="721785"/>
              <a:chOff x="1737490" y="4821820"/>
              <a:chExt cx="647932" cy="914275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FECEED2C-B20E-4C5D-A168-798BAE95F1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37490" y="4821820"/>
                <a:ext cx="647932" cy="601836"/>
              </a:xfrm>
              <a:prstGeom prst="rect">
                <a:avLst/>
              </a:prstGeom>
              <a:solidFill>
                <a:schemeClr val="accent4">
                  <a:alpha val="50000"/>
                </a:schemeClr>
              </a:solidFill>
              <a:ln w="19050">
                <a:noFill/>
              </a:ln>
            </p:spPr>
            <p:txBody>
              <a:bodyPr vert="horz" wrap="square" lIns="72008" tIns="72008" rIns="72008" bIns="72008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defTabSz="895317">
                  <a:buClr>
                    <a:srgbClr val="002960"/>
                  </a:buClr>
                  <a:defRPr/>
                </a:pPr>
                <a:endParaRPr lang="en-GB" sz="1830" b="1" dirty="0">
                  <a:solidFill>
                    <a:srgbClr val="002960"/>
                  </a:solidFill>
                  <a:latin typeface="Arial"/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DCECF5C3-AF3C-46AD-871F-A48F25C71639}"/>
                  </a:ext>
                </a:extLst>
              </p:cNvPr>
              <p:cNvGrpSpPr/>
              <p:nvPr/>
            </p:nvGrpSpPr>
            <p:grpSpPr>
              <a:xfrm>
                <a:off x="1757097" y="5479854"/>
                <a:ext cx="623015" cy="256241"/>
                <a:chOff x="1426854" y="4073289"/>
                <a:chExt cx="935291" cy="303453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32E70D80-E0A8-430F-8280-59996730A4B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426854" y="4242855"/>
                  <a:ext cx="935291" cy="133887"/>
                </a:xfrm>
                <a:prstGeom prst="rect">
                  <a:avLst/>
                </a:prstGeom>
                <a:solidFill>
                  <a:schemeClr val="accent6">
                    <a:lumMod val="75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07D03005-8858-4838-AE1D-E8E80A5E0BB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426854" y="4073289"/>
                  <a:ext cx="935291" cy="133887"/>
                </a:xfrm>
                <a:prstGeom prst="rect">
                  <a:avLst/>
                </a:prstGeom>
                <a:solidFill>
                  <a:schemeClr val="accent6">
                    <a:lumMod val="75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4728066-A827-4A01-AC64-EE87565DEF91}"/>
              </a:ext>
            </a:extLst>
          </p:cNvPr>
          <p:cNvGrpSpPr/>
          <p:nvPr/>
        </p:nvGrpSpPr>
        <p:grpSpPr>
          <a:xfrm>
            <a:off x="771718" y="4377516"/>
            <a:ext cx="10396285" cy="1485022"/>
            <a:chOff x="121556" y="3349835"/>
            <a:chExt cx="7955706" cy="113640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455F6B3-90A5-48C3-A500-AE503CBC71BD}"/>
                </a:ext>
              </a:extLst>
            </p:cNvPr>
            <p:cNvSpPr txBox="1">
              <a:spLocks/>
            </p:cNvSpPr>
            <p:nvPr/>
          </p:nvSpPr>
          <p:spPr>
            <a:xfrm>
              <a:off x="121556" y="3597247"/>
              <a:ext cx="1223548" cy="64651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830" dirty="0">
                  <a:solidFill>
                    <a:srgbClr val="FFFFFF"/>
                  </a:solidFill>
                  <a:latin typeface="Georgia" panose="02040502050405020303" pitchFamily="18" charset="0"/>
                </a:rPr>
                <a:t>Regional / Country Marketing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A00DBEF-DBAF-4AC6-B763-6FD5DE96C2B8}"/>
                </a:ext>
              </a:extLst>
            </p:cNvPr>
            <p:cNvGrpSpPr/>
            <p:nvPr/>
          </p:nvGrpSpPr>
          <p:grpSpPr>
            <a:xfrm>
              <a:off x="1565434" y="3349835"/>
              <a:ext cx="6511828" cy="1136406"/>
              <a:chOff x="1565434" y="3375955"/>
              <a:chExt cx="6511828" cy="1136406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1614734E-8358-40F2-8450-0A4962AD708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59379" y="3375955"/>
                <a:ext cx="5417883" cy="113640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marL="194393" lvl="1" indent="-190793" defTabSz="895317">
                  <a:spcBef>
                    <a:spcPts val="600"/>
                  </a:spcBef>
                  <a:buClr>
                    <a:srgbClr val="002960"/>
                  </a:buClr>
                  <a:defRPr/>
                </a:pPr>
                <a:r>
                  <a:rPr lang="en-US" sz="1830" b="1" dirty="0">
                    <a:solidFill>
                      <a:schemeClr val="accent4"/>
                    </a:solidFill>
                    <a:latin typeface="Arial"/>
                  </a:rPr>
                  <a:t>Run the business: </a:t>
                </a:r>
                <a:r>
                  <a:rPr lang="en-US" sz="1830" dirty="0">
                    <a:solidFill>
                      <a:srgbClr val="000000"/>
                    </a:solidFill>
                    <a:latin typeface="Arial"/>
                  </a:rPr>
                  <a:t>develop, adapt and deliver value propositions in line with commercial and segment priorities in Regions and Countries</a:t>
                </a:r>
              </a:p>
              <a:p>
                <a:pPr marL="194393" lvl="1" indent="-190793" defTabSz="895317">
                  <a:spcBef>
                    <a:spcPts val="600"/>
                  </a:spcBef>
                  <a:buClr>
                    <a:srgbClr val="002960"/>
                  </a:buClr>
                  <a:defRPr/>
                </a:pPr>
                <a:r>
                  <a:rPr lang="en-US" sz="1830" b="1" dirty="0">
                    <a:solidFill>
                      <a:schemeClr val="accent4"/>
                    </a:solidFill>
                    <a:latin typeface="Arial"/>
                  </a:rPr>
                  <a:t>Enabling teams and skill pool: </a:t>
                </a:r>
                <a:r>
                  <a:rPr lang="en-US" sz="1830" dirty="0">
                    <a:solidFill>
                      <a:srgbClr val="000000"/>
                    </a:solidFill>
                    <a:latin typeface="Arial"/>
                  </a:rPr>
                  <a:t>Dedicated ongoing support from capability centers </a:t>
                </a: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F4B731E5-76E7-412F-8944-19D3FF722745}"/>
                  </a:ext>
                </a:extLst>
              </p:cNvPr>
              <p:cNvGrpSpPr/>
              <p:nvPr/>
            </p:nvGrpSpPr>
            <p:grpSpPr>
              <a:xfrm>
                <a:off x="1565434" y="3506121"/>
                <a:ext cx="862529" cy="881006"/>
                <a:chOff x="1565434" y="3683315"/>
                <a:chExt cx="862529" cy="881006"/>
              </a:xfrm>
            </p:grpSpPr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C6240615-617A-41E4-8C45-492C3727093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085386" y="3683315"/>
                  <a:ext cx="147683" cy="881006"/>
                </a:xfrm>
                <a:prstGeom prst="rect">
                  <a:avLst/>
                </a:prstGeom>
                <a:solidFill>
                  <a:schemeClr val="accent2">
                    <a:alpha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0483EA47-8AAD-4524-AD3A-3B4CAC2D064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257846" y="3683315"/>
                  <a:ext cx="147683" cy="881006"/>
                </a:xfrm>
                <a:prstGeom prst="rect">
                  <a:avLst/>
                </a:prstGeom>
                <a:solidFill>
                  <a:schemeClr val="accent2">
                    <a:alpha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E1AF59A-8029-48E7-A199-F78A028CA55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565434" y="3687504"/>
                  <a:ext cx="473627" cy="876817"/>
                </a:xfrm>
                <a:prstGeom prst="rect">
                  <a:avLst/>
                </a:prstGeom>
                <a:solidFill>
                  <a:schemeClr val="accent6">
                    <a:alpha val="6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28EBB8EC-EF12-43E2-B90C-010011094199}"/>
                    </a:ext>
                  </a:extLst>
                </p:cNvPr>
                <p:cNvSpPr/>
                <p:nvPr/>
              </p:nvSpPr>
              <p:spPr>
                <a:xfrm>
                  <a:off x="1634148" y="3889012"/>
                  <a:ext cx="85283" cy="668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67">
                    <a:defRPr/>
                  </a:pPr>
                  <a:endParaRPr lang="en-US" sz="1830" dirty="0">
                    <a:solidFill>
                      <a:srgbClr val="808080"/>
                    </a:solidFill>
                    <a:latin typeface="Arial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CE046793-2FAA-4A10-A8BE-2A8AABE298CF}"/>
                    </a:ext>
                  </a:extLst>
                </p:cNvPr>
                <p:cNvSpPr/>
                <p:nvPr/>
              </p:nvSpPr>
              <p:spPr>
                <a:xfrm>
                  <a:off x="1766983" y="3889012"/>
                  <a:ext cx="85283" cy="668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67">
                    <a:defRPr/>
                  </a:pPr>
                  <a:endParaRPr lang="en-US" sz="1830" dirty="0">
                    <a:solidFill>
                      <a:srgbClr val="808080"/>
                    </a:solidFill>
                    <a:latin typeface="Arial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922BC404-B61F-44F5-A3C8-F231D3B63BF0}"/>
                    </a:ext>
                  </a:extLst>
                </p:cNvPr>
                <p:cNvSpPr/>
                <p:nvPr/>
              </p:nvSpPr>
              <p:spPr>
                <a:xfrm>
                  <a:off x="1899817" y="3889012"/>
                  <a:ext cx="99138" cy="668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67">
                    <a:defRPr/>
                  </a:pPr>
                  <a:endParaRPr lang="en-US" sz="1830" dirty="0">
                    <a:solidFill>
                      <a:srgbClr val="808080"/>
                    </a:solidFill>
                    <a:latin typeface="Arial"/>
                  </a:endParaRPr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D38C9E53-E70A-44CE-B7EC-B393A66C4BAA}"/>
                    </a:ext>
                  </a:extLst>
                </p:cNvPr>
                <p:cNvSpPr/>
                <p:nvPr/>
              </p:nvSpPr>
              <p:spPr>
                <a:xfrm>
                  <a:off x="1769927" y="3790850"/>
                  <a:ext cx="85283" cy="6680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67">
                    <a:defRPr/>
                  </a:pPr>
                  <a:endParaRPr lang="en-US" sz="183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cxnSp>
              <p:nvCxnSpPr>
                <p:cNvPr id="66" name="Connector: Elbow 65">
                  <a:extLst>
                    <a:ext uri="{FF2B5EF4-FFF2-40B4-BE49-F238E27FC236}">
                      <a16:creationId xmlns:a16="http://schemas.microsoft.com/office/drawing/2014/main" id="{4EDECF37-E41E-4A64-9436-1CB7717DA405}"/>
                    </a:ext>
                  </a:extLst>
                </p:cNvPr>
                <p:cNvCxnSpPr>
                  <a:stCxn id="65" idx="2"/>
                  <a:endCxn id="62" idx="0"/>
                </p:cNvCxnSpPr>
                <p:nvPr/>
              </p:nvCxnSpPr>
              <p:spPr>
                <a:xfrm rot="5400000">
                  <a:off x="1729003" y="3805445"/>
                  <a:ext cx="31353" cy="135780"/>
                </a:xfrm>
                <a:prstGeom prst="bentConnector3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Connector: Elbow 66">
                  <a:extLst>
                    <a:ext uri="{FF2B5EF4-FFF2-40B4-BE49-F238E27FC236}">
                      <a16:creationId xmlns:a16="http://schemas.microsoft.com/office/drawing/2014/main" id="{E5705518-31B7-47D2-B571-B3D295BAAC76}"/>
                    </a:ext>
                  </a:extLst>
                </p:cNvPr>
                <p:cNvCxnSpPr>
                  <a:stCxn id="65" idx="2"/>
                  <a:endCxn id="63" idx="0"/>
                </p:cNvCxnSpPr>
                <p:nvPr/>
              </p:nvCxnSpPr>
              <p:spPr>
                <a:xfrm rot="5400000">
                  <a:off x="1795422" y="3871863"/>
                  <a:ext cx="31353" cy="2945"/>
                </a:xfrm>
                <a:prstGeom prst="bentConnector3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Connector: Elbow 67">
                  <a:extLst>
                    <a:ext uri="{FF2B5EF4-FFF2-40B4-BE49-F238E27FC236}">
                      <a16:creationId xmlns:a16="http://schemas.microsoft.com/office/drawing/2014/main" id="{DDE4463F-423B-433A-8ACC-6304B063C012}"/>
                    </a:ext>
                  </a:extLst>
                </p:cNvPr>
                <p:cNvCxnSpPr>
                  <a:cxnSpLocks/>
                  <a:stCxn id="65" idx="2"/>
                  <a:endCxn id="64" idx="0"/>
                </p:cNvCxnSpPr>
                <p:nvPr/>
              </p:nvCxnSpPr>
              <p:spPr>
                <a:xfrm rot="16200000" flipH="1">
                  <a:off x="1865301" y="3804926"/>
                  <a:ext cx="31353" cy="136817"/>
                </a:xfrm>
                <a:prstGeom prst="bentConnector3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A160F2C4-E3DB-4C8C-BDFE-4330EC35D52D}"/>
                    </a:ext>
                  </a:extLst>
                </p:cNvPr>
                <p:cNvSpPr txBox="1"/>
                <p:nvPr/>
              </p:nvSpPr>
              <p:spPr>
                <a:xfrm rot="16200000">
                  <a:off x="2022169" y="3979656"/>
                  <a:ext cx="596083" cy="21550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r>
                    <a:rPr lang="en-GB" sz="1830" dirty="0">
                      <a:solidFill>
                        <a:srgbClr val="FFFFFF"/>
                      </a:solidFill>
                      <a:latin typeface="Arial"/>
                    </a:rPr>
                    <a:t>Squad</a:t>
                  </a: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FC7ABD8D-F697-49DE-9C67-8504BEB0A859}"/>
                    </a:ext>
                  </a:extLst>
                </p:cNvPr>
                <p:cNvSpPr txBox="1"/>
                <p:nvPr/>
              </p:nvSpPr>
              <p:spPr>
                <a:xfrm rot="16200000">
                  <a:off x="1838233" y="3979656"/>
                  <a:ext cx="596083" cy="21550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r>
                    <a:rPr lang="en-GB" sz="1830" dirty="0">
                      <a:solidFill>
                        <a:srgbClr val="FFFFFF"/>
                      </a:solidFill>
                      <a:latin typeface="Arial"/>
                    </a:rPr>
                    <a:t>Squad</a:t>
                  </a:r>
                </a:p>
              </p:txBody>
            </p:sp>
          </p:grp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BA20CB2-F5D1-484F-A3EC-F4FD102486FB}"/>
              </a:ext>
            </a:extLst>
          </p:cNvPr>
          <p:cNvGrpSpPr/>
          <p:nvPr/>
        </p:nvGrpSpPr>
        <p:grpSpPr>
          <a:xfrm>
            <a:off x="771718" y="2985046"/>
            <a:ext cx="10396285" cy="1016111"/>
            <a:chOff x="121556" y="2490783"/>
            <a:chExt cx="7955706" cy="777574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A11E267-B3BF-4F65-AF4C-84D07094FF78}"/>
                </a:ext>
              </a:extLst>
            </p:cNvPr>
            <p:cNvSpPr txBox="1">
              <a:spLocks/>
            </p:cNvSpPr>
            <p:nvPr/>
          </p:nvSpPr>
          <p:spPr>
            <a:xfrm>
              <a:off x="121556" y="2771818"/>
              <a:ext cx="1223548" cy="21550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defTabSz="895317">
                <a:buClr>
                  <a:srgbClr val="002960"/>
                </a:buClr>
                <a:defRPr/>
              </a:pPr>
              <a:r>
                <a:rPr lang="en-US" sz="1830" dirty="0">
                  <a:solidFill>
                    <a:srgbClr val="FFFFFF"/>
                  </a:solidFill>
                  <a:latin typeface="Georgia" panose="02040502050405020303" pitchFamily="18" charset="0"/>
                </a:rPr>
                <a:t>Global Themes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006EB57-1BB6-47EF-AD94-60C11CAB1872}"/>
                </a:ext>
              </a:extLst>
            </p:cNvPr>
            <p:cNvGrpSpPr/>
            <p:nvPr/>
          </p:nvGrpSpPr>
          <p:grpSpPr>
            <a:xfrm>
              <a:off x="1571680" y="2490783"/>
              <a:ext cx="6505582" cy="777574"/>
              <a:chOff x="1571680" y="2490783"/>
              <a:chExt cx="6505582" cy="777574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B021FFE-CB5E-434E-A2F7-3CACA040A0D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59379" y="2490783"/>
                <a:ext cx="5417883" cy="43101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baseline="0" dirty="0">
                    <a:latin typeface="+mn-lt"/>
                  </a:defRPr>
                </a:lvl1pPr>
                <a:lvl2pPr marL="194400" lvl="1" indent="-190800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baseline="0" dirty="0">
                    <a:latin typeface="+mn-lt"/>
                  </a:defRPr>
                </a:lvl2pPr>
                <a:lvl3pPr marL="446400" lvl="2" indent="-2484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dirty="0">
                    <a:latin typeface="+mn-lt"/>
                  </a:defRPr>
                </a:lvl3pPr>
                <a:lvl4pPr marL="615600" lvl="3" indent="-154800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baseline="0" dirty="0">
                    <a:latin typeface="+mn-lt"/>
                  </a:defRPr>
                </a:lvl4pPr>
                <a:lvl5pPr marL="748800" lvl="4" indent="-129600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 dirty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pPr marL="194393" lvl="1" indent="-190793" defTabSz="895317">
                  <a:buClr>
                    <a:srgbClr val="002960"/>
                  </a:buClr>
                  <a:defRPr/>
                </a:pPr>
                <a:r>
                  <a:rPr lang="en-US" sz="1830" b="1" dirty="0">
                    <a:solidFill>
                      <a:schemeClr val="accent4"/>
                    </a:solidFill>
                    <a:latin typeface="Arial"/>
                  </a:rPr>
                  <a:t>Cross-functional squads: </a:t>
                </a:r>
                <a:r>
                  <a:rPr lang="en-US" sz="1830" dirty="0">
                    <a:solidFill>
                      <a:srgbClr val="000000"/>
                    </a:solidFill>
                    <a:latin typeface="Arial"/>
                  </a:rPr>
                  <a:t>deliver on overall theme goals under direction of Theme lead</a:t>
                </a:r>
                <a:endParaRPr lang="en-US" sz="1830" b="1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8967F64-16D7-4018-902C-304E8B9DB7C0}"/>
                  </a:ext>
                </a:extLst>
              </p:cNvPr>
              <p:cNvGrpSpPr/>
              <p:nvPr/>
            </p:nvGrpSpPr>
            <p:grpSpPr>
              <a:xfrm>
                <a:off x="1571680" y="2490783"/>
                <a:ext cx="935206" cy="777574"/>
                <a:chOff x="1571680" y="2559571"/>
                <a:chExt cx="935206" cy="777574"/>
              </a:xfrm>
            </p:grpSpPr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9BB72F71-5183-4502-A956-352C5136809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 rot="5400000">
                  <a:off x="1650496" y="2480755"/>
                  <a:ext cx="777574" cy="935206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FF2F776B-247D-4720-B50A-5DA18B7C890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 rot="5400000">
                  <a:off x="1910937" y="2857540"/>
                  <a:ext cx="685016" cy="184805"/>
                </a:xfrm>
                <a:prstGeom prst="rect">
                  <a:avLst/>
                </a:prstGeom>
                <a:solidFill>
                  <a:schemeClr val="accent2">
                    <a:alpha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434AC2D1-E0C0-4B4C-8335-584B43973C4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 rot="5400000">
                  <a:off x="1696777" y="2857541"/>
                  <a:ext cx="685016" cy="184805"/>
                </a:xfrm>
                <a:prstGeom prst="rect">
                  <a:avLst/>
                </a:prstGeom>
                <a:solidFill>
                  <a:schemeClr val="accent2">
                    <a:alpha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3078FF7D-4656-4C6A-912A-237EA88D069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 rot="5400000">
                  <a:off x="1467209" y="2857541"/>
                  <a:ext cx="685016" cy="184805"/>
                </a:xfrm>
                <a:prstGeom prst="rect">
                  <a:avLst/>
                </a:prstGeom>
                <a:solidFill>
                  <a:schemeClr val="accent2">
                    <a:alpha val="80000"/>
                  </a:schemeClr>
                </a:solidFill>
                <a:ln w="19050">
                  <a:noFill/>
                </a:ln>
              </p:spPr>
              <p:txBody>
                <a:bodyPr vert="horz" wrap="square" lIns="72008" tIns="72008" rIns="72008" bIns="72008" rtlCol="0" anchor="ctr" anchorCtr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endParaRPr lang="en-GB" sz="1830" b="1" dirty="0">
                    <a:solidFill>
                      <a:srgbClr val="002960"/>
                    </a:solidFill>
                    <a:latin typeface="Arial"/>
                  </a:endParaRPr>
                </a:p>
              </p:txBody>
            </p:sp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AC9F6360-3B92-442E-8B08-971D3E3F2AA0}"/>
                    </a:ext>
                  </a:extLst>
                </p:cNvPr>
                <p:cNvSpPr txBox="1"/>
                <p:nvPr/>
              </p:nvSpPr>
              <p:spPr>
                <a:xfrm rot="16200000">
                  <a:off x="1493370" y="2797724"/>
                  <a:ext cx="596083" cy="21550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r>
                    <a:rPr lang="en-GB" sz="1830" dirty="0">
                      <a:solidFill>
                        <a:srgbClr val="FFFFFF"/>
                      </a:solidFill>
                      <a:latin typeface="Arial"/>
                    </a:rPr>
                    <a:t>Squad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838BEB2D-6A02-4994-B77A-8201FFFBC111}"/>
                    </a:ext>
                  </a:extLst>
                </p:cNvPr>
                <p:cNvSpPr txBox="1"/>
                <p:nvPr/>
              </p:nvSpPr>
              <p:spPr>
                <a:xfrm rot="16200000">
                  <a:off x="1730292" y="2797724"/>
                  <a:ext cx="596083" cy="21550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r>
                    <a:rPr lang="en-GB" sz="1830" dirty="0">
                      <a:solidFill>
                        <a:srgbClr val="FFFFFF"/>
                      </a:solidFill>
                      <a:latin typeface="Arial"/>
                    </a:rPr>
                    <a:t>Squad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09605595-975C-47CD-8D74-B9C8D6748AA6}"/>
                    </a:ext>
                  </a:extLst>
                </p:cNvPr>
                <p:cNvSpPr txBox="1"/>
                <p:nvPr/>
              </p:nvSpPr>
              <p:spPr>
                <a:xfrm rot="16200000">
                  <a:off x="1954197" y="2797724"/>
                  <a:ext cx="596083" cy="215505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17">
                    <a:buClr>
                      <a:srgbClr val="002960"/>
                    </a:buClr>
                    <a:defRPr/>
                  </a:pPr>
                  <a:r>
                    <a:rPr lang="en-GB" sz="1830" dirty="0">
                      <a:solidFill>
                        <a:srgbClr val="FFFFFF"/>
                      </a:solidFill>
                      <a:latin typeface="Arial"/>
                    </a:rPr>
                    <a:t>Squad</a:t>
                  </a:r>
                </a:p>
              </p:txBody>
            </p:sp>
          </p:grp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B1E9091-ADD1-4580-81FB-47FE966D6EFC}"/>
              </a:ext>
            </a:extLst>
          </p:cNvPr>
          <p:cNvGrpSpPr/>
          <p:nvPr/>
        </p:nvGrpSpPr>
        <p:grpSpPr>
          <a:xfrm>
            <a:off x="7365284" y="48418"/>
            <a:ext cx="4416804" cy="163613"/>
            <a:chOff x="7365304" y="83710"/>
            <a:chExt cx="4416869" cy="16361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BC20FC07-7328-42D0-AC43-CE406D2AC8DC}"/>
                </a:ext>
              </a:extLst>
            </p:cNvPr>
            <p:cNvSpPr>
              <a:spLocks/>
            </p:cNvSpPr>
            <p:nvPr/>
          </p:nvSpPr>
          <p:spPr>
            <a:xfrm>
              <a:off x="7365304" y="83710"/>
              <a:ext cx="4416869" cy="16361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66CB14A-0D24-439C-BA0E-E45DE4199D4C}"/>
                </a:ext>
              </a:extLst>
            </p:cNvPr>
            <p:cNvSpPr/>
            <p:nvPr/>
          </p:nvSpPr>
          <p:spPr>
            <a:xfrm>
              <a:off x="9248855" y="83710"/>
              <a:ext cx="1069895" cy="163616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9E76FFFB-E6C9-49A4-BB81-FC6A78F5D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1823" y="92880"/>
              <a:ext cx="152183" cy="152183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DF8C4CA-E826-4864-B1EA-02C5293F1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07623" y="86558"/>
              <a:ext cx="152183" cy="152183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031B49B5-F1B4-4C2B-8542-3867EE657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6603" y="93711"/>
              <a:ext cx="152183" cy="152183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D0AA962A-3959-4A2F-9272-5298B8F4D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611867" y="99235"/>
              <a:ext cx="152183" cy="141136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1AD46166-1361-4743-B42D-87B3BACBE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38724" y="93711"/>
              <a:ext cx="152183" cy="152183"/>
            </a:xfrm>
            <a:prstGeom prst="rect">
              <a:avLst/>
            </a:prstGeom>
          </p:spPr>
        </p:pic>
        <p:sp>
          <p:nvSpPr>
            <p:cNvPr id="83" name="Chevron 58">
              <a:extLst>
                <a:ext uri="{FF2B5EF4-FFF2-40B4-BE49-F238E27FC236}">
                  <a16:creationId xmlns:a16="http://schemas.microsoft.com/office/drawing/2014/main" id="{F8DCBEAC-8788-4934-B4D7-2AC3D7A6E609}"/>
                </a:ext>
              </a:extLst>
            </p:cNvPr>
            <p:cNvSpPr/>
            <p:nvPr/>
          </p:nvSpPr>
          <p:spPr>
            <a:xfrm>
              <a:off x="826269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4" name="Chevron 59">
              <a:extLst>
                <a:ext uri="{FF2B5EF4-FFF2-40B4-BE49-F238E27FC236}">
                  <a16:creationId xmlns:a16="http://schemas.microsoft.com/office/drawing/2014/main" id="{F99ABB49-941F-4739-B503-B9710F3A8ABF}"/>
                </a:ext>
              </a:extLst>
            </p:cNvPr>
            <p:cNvSpPr/>
            <p:nvPr/>
          </p:nvSpPr>
          <p:spPr>
            <a:xfrm>
              <a:off x="922306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5" name="Chevron 60">
              <a:extLst>
                <a:ext uri="{FF2B5EF4-FFF2-40B4-BE49-F238E27FC236}">
                  <a16:creationId xmlns:a16="http://schemas.microsoft.com/office/drawing/2014/main" id="{860AC7D2-A068-489C-8421-F57E37251977}"/>
                </a:ext>
              </a:extLst>
            </p:cNvPr>
            <p:cNvSpPr/>
            <p:nvPr/>
          </p:nvSpPr>
          <p:spPr>
            <a:xfrm>
              <a:off x="10283900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6" name="Chevron 61">
              <a:extLst>
                <a:ext uri="{FF2B5EF4-FFF2-40B4-BE49-F238E27FC236}">
                  <a16:creationId xmlns:a16="http://schemas.microsoft.com/office/drawing/2014/main" id="{D538EA04-FFF0-4AAF-B06C-37E9E732BC3D}"/>
                </a:ext>
              </a:extLst>
            </p:cNvPr>
            <p:cNvSpPr/>
            <p:nvPr/>
          </p:nvSpPr>
          <p:spPr>
            <a:xfrm>
              <a:off x="1099677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67">
                <a:defRPr/>
              </a:pPr>
              <a:endParaRPr lang="en-GB" sz="1550" dirty="0">
                <a:solidFill>
                  <a:srgbClr val="000000"/>
                </a:solidFill>
                <a:latin typeface="Georgia" panose="0204050205040502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7904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ct 128" hidden="1">
            <a:extLst>
              <a:ext uri="{FF2B5EF4-FFF2-40B4-BE49-F238E27FC236}">
                <a16:creationId xmlns:a16="http://schemas.microsoft.com/office/drawing/2014/main" id="{429328DF-B4EF-49A6-9F27-F37C3EB52C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012637"/>
              </p:ext>
            </p:extLst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4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5290D9-2847-46AE-8DF8-A31427440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738664"/>
          </a:xfrm>
        </p:spPr>
        <p:txBody>
          <a:bodyPr wrap="square" anchor="t" anchorCtr="0">
            <a:spAutoFit/>
          </a:bodyPr>
          <a:lstStyle/>
          <a:p>
            <a:r>
              <a:rPr lang="en-US" dirty="0"/>
              <a:t>Case study – Squads became the building block of marketing, with new </a:t>
            </a:r>
            <a:br>
              <a:rPr lang="en-US" dirty="0"/>
            </a:br>
            <a:r>
              <a:rPr lang="en-US" dirty="0"/>
              <a:t>capability sets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3E4B2368-279C-4AE2-90CC-AF8B94F7EFC7}"/>
              </a:ext>
            </a:extLst>
          </p:cNvPr>
          <p:cNvSpPr>
            <a:spLocks/>
          </p:cNvSpPr>
          <p:nvPr/>
        </p:nvSpPr>
        <p:spPr>
          <a:xfrm rot="5400000">
            <a:off x="6091922" y="1574620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7B7E832-AB6B-4BDF-920D-F4761F063FC7}"/>
              </a:ext>
            </a:extLst>
          </p:cNvPr>
          <p:cNvSpPr>
            <a:spLocks/>
          </p:cNvSpPr>
          <p:nvPr/>
        </p:nvSpPr>
        <p:spPr>
          <a:xfrm rot="5400000">
            <a:off x="6091922" y="1989835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9270A4A-B756-4647-8D4D-5B52A2B3FC79}"/>
              </a:ext>
            </a:extLst>
          </p:cNvPr>
          <p:cNvSpPr>
            <a:spLocks/>
          </p:cNvSpPr>
          <p:nvPr/>
        </p:nvSpPr>
        <p:spPr>
          <a:xfrm rot="5400000">
            <a:off x="6091922" y="402292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928A965-A748-453A-AE2A-B10E0A540A7D}"/>
              </a:ext>
            </a:extLst>
          </p:cNvPr>
          <p:cNvSpPr>
            <a:spLocks/>
          </p:cNvSpPr>
          <p:nvPr/>
        </p:nvSpPr>
        <p:spPr>
          <a:xfrm rot="5400000">
            <a:off x="6091922" y="792083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9C06B9-C3B3-4F2A-87FC-2428A0027383}"/>
              </a:ext>
            </a:extLst>
          </p:cNvPr>
          <p:cNvSpPr>
            <a:spLocks/>
          </p:cNvSpPr>
          <p:nvPr/>
        </p:nvSpPr>
        <p:spPr>
          <a:xfrm rot="5400000">
            <a:off x="6091922" y="1170303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8FA39E5-3C7E-4595-B6AA-F0E7C491D8A9}"/>
              </a:ext>
            </a:extLst>
          </p:cNvPr>
          <p:cNvSpPr>
            <a:spLocks/>
          </p:cNvSpPr>
          <p:nvPr/>
        </p:nvSpPr>
        <p:spPr>
          <a:xfrm rot="5400000">
            <a:off x="6091922" y="345"/>
            <a:ext cx="345207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EFA2F10-1B73-4435-915C-5CF115A4701E}"/>
              </a:ext>
            </a:extLst>
          </p:cNvPr>
          <p:cNvSpPr>
            <a:spLocks/>
          </p:cNvSpPr>
          <p:nvPr/>
        </p:nvSpPr>
        <p:spPr>
          <a:xfrm rot="5400000">
            <a:off x="6078606" y="-424367"/>
            <a:ext cx="371843" cy="585845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/>
          <a:p>
            <a:pPr defTabSz="895317">
              <a:buClr>
                <a:schemeClr val="tx2"/>
              </a:buClr>
              <a:buSzPct val="100000"/>
            </a:pPr>
            <a:endParaRPr lang="en-US" sz="1307" b="1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186E6BE-0189-455E-803A-4FB531FC8084}"/>
              </a:ext>
            </a:extLst>
          </p:cNvPr>
          <p:cNvSpPr txBox="1">
            <a:spLocks/>
          </p:cNvSpPr>
          <p:nvPr/>
        </p:nvSpPr>
        <p:spPr>
          <a:xfrm>
            <a:off x="3534115" y="876541"/>
            <a:ext cx="3323201" cy="418184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sz="1100" dirty="0">
                <a:solidFill>
                  <a:schemeClr val="bg2"/>
                </a:solidFill>
              </a:rPr>
              <a:t>Theme lea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0821954-C2AA-4523-9A17-A695CA70511C}"/>
              </a:ext>
            </a:extLst>
          </p:cNvPr>
          <p:cNvSpPr txBox="1">
            <a:spLocks/>
          </p:cNvSpPr>
          <p:nvPr/>
        </p:nvSpPr>
        <p:spPr>
          <a:xfrm>
            <a:off x="4426600" y="1469220"/>
            <a:ext cx="765300" cy="691091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8099" tIns="38099" rIns="38099" bIns="38099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100" dirty="0">
                <a:solidFill>
                  <a:schemeClr val="bg2"/>
                </a:solidFill>
              </a:rPr>
              <a:t>Squad own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20A9CE-C4D9-4204-87B6-14F195B60150}"/>
              </a:ext>
            </a:extLst>
          </p:cNvPr>
          <p:cNvSpPr txBox="1">
            <a:spLocks/>
          </p:cNvSpPr>
          <p:nvPr/>
        </p:nvSpPr>
        <p:spPr>
          <a:xfrm>
            <a:off x="5267921" y="1469220"/>
            <a:ext cx="765300" cy="691091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8099" tIns="38099" rIns="38099" bIns="38099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100" dirty="0">
                <a:solidFill>
                  <a:schemeClr val="bg2"/>
                </a:solidFill>
              </a:rPr>
              <a:t>Squad own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04F25C-C981-4D4B-93AE-FDB1A14A0A55}"/>
              </a:ext>
            </a:extLst>
          </p:cNvPr>
          <p:cNvSpPr txBox="1">
            <a:spLocks/>
          </p:cNvSpPr>
          <p:nvPr/>
        </p:nvSpPr>
        <p:spPr>
          <a:xfrm>
            <a:off x="6109245" y="1469220"/>
            <a:ext cx="765300" cy="691091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8099" tIns="38099" rIns="38099" bIns="38099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100" dirty="0">
                <a:solidFill>
                  <a:schemeClr val="bg2"/>
                </a:solidFill>
              </a:rPr>
              <a:t>Squad own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F218FEA-98F8-4D31-B642-CC9F85C5F8D6}"/>
              </a:ext>
            </a:extLst>
          </p:cNvPr>
          <p:cNvSpPr txBox="1">
            <a:spLocks/>
          </p:cNvSpPr>
          <p:nvPr/>
        </p:nvSpPr>
        <p:spPr>
          <a:xfrm>
            <a:off x="3534113" y="1469220"/>
            <a:ext cx="765300" cy="691091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38099" tIns="38099" rIns="38099" bIns="38099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100" dirty="0">
                <a:solidFill>
                  <a:schemeClr val="bg2"/>
                </a:solidFill>
              </a:rPr>
              <a:t>Squad owner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EE8E8516-26A6-468A-9CEB-1692A28EA2A3}"/>
              </a:ext>
            </a:extLst>
          </p:cNvPr>
          <p:cNvCxnSpPr>
            <a:cxnSpLocks/>
            <a:stCxn id="27" idx="2"/>
            <a:endCxn id="31" idx="0"/>
          </p:cNvCxnSpPr>
          <p:nvPr/>
        </p:nvCxnSpPr>
        <p:spPr>
          <a:xfrm rot="5400000">
            <a:off x="4468995" y="742497"/>
            <a:ext cx="174494" cy="127895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E4578363-3A51-4FB9-9F52-9FB98F5523B6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rot="5400000">
            <a:off x="4915237" y="1188740"/>
            <a:ext cx="174494" cy="38646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DC6936BE-E35E-4EB3-8717-8A396A02D30D}"/>
              </a:ext>
            </a:extLst>
          </p:cNvPr>
          <p:cNvCxnSpPr>
            <a:cxnSpLocks/>
            <a:stCxn id="27" idx="2"/>
            <a:endCxn id="30" idx="0"/>
          </p:cNvCxnSpPr>
          <p:nvPr/>
        </p:nvCxnSpPr>
        <p:spPr>
          <a:xfrm rot="16200000" flipH="1">
            <a:off x="5756560" y="733883"/>
            <a:ext cx="174494" cy="129617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56">
            <a:extLst>
              <a:ext uri="{FF2B5EF4-FFF2-40B4-BE49-F238E27FC236}">
                <a16:creationId xmlns:a16="http://schemas.microsoft.com/office/drawing/2014/main" id="{DAB88694-E42B-4C92-A26B-4E89052E59CC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 rot="16200000" flipH="1">
            <a:off x="5335897" y="1154542"/>
            <a:ext cx="174494" cy="45485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F35BEB70-0FE3-4F6E-9875-480036252822}"/>
              </a:ext>
            </a:extLst>
          </p:cNvPr>
          <p:cNvSpPr txBox="1">
            <a:spLocks/>
          </p:cNvSpPr>
          <p:nvPr/>
        </p:nvSpPr>
        <p:spPr>
          <a:xfrm>
            <a:off x="6857315" y="4461472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Product dev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5883AEE2-01D0-4CFC-829F-82F00D8196EB}"/>
              </a:ext>
            </a:extLst>
          </p:cNvPr>
          <p:cNvSpPr txBox="1">
            <a:spLocks/>
          </p:cNvSpPr>
          <p:nvPr/>
        </p:nvSpPr>
        <p:spPr>
          <a:xfrm>
            <a:off x="6857315" y="4831111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Sal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18609AC-E4D7-4712-8685-9AF826BED11F}"/>
              </a:ext>
            </a:extLst>
          </p:cNvPr>
          <p:cNvSpPr txBox="1">
            <a:spLocks/>
          </p:cNvSpPr>
          <p:nvPr/>
        </p:nvSpPr>
        <p:spPr>
          <a:xfrm>
            <a:off x="6857315" y="3254273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Pric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BFEA5E-A291-445B-B12F-38EEFEE11701}"/>
              </a:ext>
            </a:extLst>
          </p:cNvPr>
          <p:cNvSpPr txBox="1">
            <a:spLocks/>
          </p:cNvSpPr>
          <p:nvPr/>
        </p:nvSpPr>
        <p:spPr>
          <a:xfrm>
            <a:off x="6857315" y="3644064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CE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467E0FD-7D28-4A3D-9874-13CDA54043FC}"/>
              </a:ext>
            </a:extLst>
          </p:cNvPr>
          <p:cNvSpPr txBox="1">
            <a:spLocks/>
          </p:cNvSpPr>
          <p:nvPr/>
        </p:nvSpPr>
        <p:spPr>
          <a:xfrm>
            <a:off x="6857315" y="2852326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Customer eng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3BD12E7-AEC2-4098-94E8-60B08352D139}"/>
              </a:ext>
            </a:extLst>
          </p:cNvPr>
          <p:cNvSpPr txBox="1">
            <a:spLocks/>
          </p:cNvSpPr>
          <p:nvPr/>
        </p:nvSpPr>
        <p:spPr>
          <a:xfrm>
            <a:off x="6857315" y="2438303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Data &amp; Analytic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46C2B78-5766-41BA-903B-6732C1221049}"/>
              </a:ext>
            </a:extLst>
          </p:cNvPr>
          <p:cNvSpPr txBox="1">
            <a:spLocks/>
          </p:cNvSpPr>
          <p:nvPr/>
        </p:nvSpPr>
        <p:spPr>
          <a:xfrm>
            <a:off x="6857315" y="3997135"/>
            <a:ext cx="2224464" cy="189111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Planning &amp; Engineer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0387FD0-3B07-4142-82E5-A6471777F3FF}"/>
              </a:ext>
            </a:extLst>
          </p:cNvPr>
          <p:cNvSpPr txBox="1">
            <a:spLocks/>
          </p:cNvSpPr>
          <p:nvPr/>
        </p:nvSpPr>
        <p:spPr>
          <a:xfrm rot="5400000">
            <a:off x="2406493" y="3401053"/>
            <a:ext cx="3045730" cy="609414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100" b="1" dirty="0">
              <a:solidFill>
                <a:schemeClr val="tx2"/>
              </a:solidFill>
            </a:endParaRPr>
          </a:p>
        </p:txBody>
      </p:sp>
      <p:sp>
        <p:nvSpPr>
          <p:cNvPr id="53" name="Freeform 5">
            <a:extLst>
              <a:ext uri="{FF2B5EF4-FFF2-40B4-BE49-F238E27FC236}">
                <a16:creationId xmlns:a16="http://schemas.microsoft.com/office/drawing/2014/main" id="{59C1AD8F-7AFC-47F6-ADA1-8007447B45CE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3562239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4" name="Freeform 6">
            <a:extLst>
              <a:ext uri="{FF2B5EF4-FFF2-40B4-BE49-F238E27FC236}">
                <a16:creationId xmlns:a16="http://schemas.microsoft.com/office/drawing/2014/main" id="{D123072B-3352-47A5-A7BF-6B8B88A49DD4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3748851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Freeform 5">
            <a:extLst>
              <a:ext uri="{FF2B5EF4-FFF2-40B4-BE49-F238E27FC236}">
                <a16:creationId xmlns:a16="http://schemas.microsoft.com/office/drawing/2014/main" id="{CBF53DE4-8E61-4A67-AB25-AA63DAA74623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3144911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Freeform 6">
            <a:extLst>
              <a:ext uri="{FF2B5EF4-FFF2-40B4-BE49-F238E27FC236}">
                <a16:creationId xmlns:a16="http://schemas.microsoft.com/office/drawing/2014/main" id="{2B3199FB-F261-4026-83EE-81A065B1B4FF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3331523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A47C65F9-B063-47D4-92B7-85AF78008AFE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275696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0" name="Freeform 6">
            <a:extLst>
              <a:ext uri="{FF2B5EF4-FFF2-40B4-BE49-F238E27FC236}">
                <a16:creationId xmlns:a16="http://schemas.microsoft.com/office/drawing/2014/main" id="{CA69ADD8-9CD5-4BED-9079-9207759732EA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294357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Freeform 5">
            <a:extLst>
              <a:ext uri="{FF2B5EF4-FFF2-40B4-BE49-F238E27FC236}">
                <a16:creationId xmlns:a16="http://schemas.microsoft.com/office/drawing/2014/main" id="{845AF474-983F-4951-95C4-536E8CF9A323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235523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3" name="Freeform 6">
            <a:extLst>
              <a:ext uri="{FF2B5EF4-FFF2-40B4-BE49-F238E27FC236}">
                <a16:creationId xmlns:a16="http://schemas.microsoft.com/office/drawing/2014/main" id="{FEAF5D71-25DD-4E44-8F92-DA29BCE8A65D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254184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79D007F-C1FE-476C-91C2-13DC1B436612}"/>
              </a:ext>
            </a:extLst>
          </p:cNvPr>
          <p:cNvSpPr txBox="1">
            <a:spLocks/>
          </p:cNvSpPr>
          <p:nvPr/>
        </p:nvSpPr>
        <p:spPr>
          <a:xfrm rot="5400000">
            <a:off x="3278532" y="3401053"/>
            <a:ext cx="3045730" cy="609414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100" b="1" dirty="0">
              <a:solidFill>
                <a:schemeClr val="tx2"/>
              </a:solidFill>
            </a:endParaRPr>
          </a:p>
        </p:txBody>
      </p:sp>
      <p:sp>
        <p:nvSpPr>
          <p:cNvPr id="69" name="Freeform 5">
            <a:extLst>
              <a:ext uri="{FF2B5EF4-FFF2-40B4-BE49-F238E27FC236}">
                <a16:creationId xmlns:a16="http://schemas.microsoft.com/office/drawing/2014/main" id="{973B40C7-3B91-4730-88DD-C4C991EAFB00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3562239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0" name="Freeform 6">
            <a:extLst>
              <a:ext uri="{FF2B5EF4-FFF2-40B4-BE49-F238E27FC236}">
                <a16:creationId xmlns:a16="http://schemas.microsoft.com/office/drawing/2014/main" id="{E20B8A9E-3C15-44C3-97A0-8B2EA4DE654B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3748851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2" name="Freeform 5">
            <a:extLst>
              <a:ext uri="{FF2B5EF4-FFF2-40B4-BE49-F238E27FC236}">
                <a16:creationId xmlns:a16="http://schemas.microsoft.com/office/drawing/2014/main" id="{5A28356F-00F3-4CD8-AE57-BE5640948842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3144911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3" name="Freeform 6">
            <a:extLst>
              <a:ext uri="{FF2B5EF4-FFF2-40B4-BE49-F238E27FC236}">
                <a16:creationId xmlns:a16="http://schemas.microsoft.com/office/drawing/2014/main" id="{9E845914-E5F3-4364-AD0B-EBE530B47C91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3331523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5" name="Freeform 5">
            <a:extLst>
              <a:ext uri="{FF2B5EF4-FFF2-40B4-BE49-F238E27FC236}">
                <a16:creationId xmlns:a16="http://schemas.microsoft.com/office/drawing/2014/main" id="{603FC495-3E33-4A96-8F29-19C36397E06A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275696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6" name="Freeform 6">
            <a:extLst>
              <a:ext uri="{FF2B5EF4-FFF2-40B4-BE49-F238E27FC236}">
                <a16:creationId xmlns:a16="http://schemas.microsoft.com/office/drawing/2014/main" id="{5DDFE59A-DF18-4AB6-8345-02A975C6CB7B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294357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CF127073-736B-4998-B261-A55EDB4235CF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235523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9" name="Freeform 6">
            <a:extLst>
              <a:ext uri="{FF2B5EF4-FFF2-40B4-BE49-F238E27FC236}">
                <a16:creationId xmlns:a16="http://schemas.microsoft.com/office/drawing/2014/main" id="{DF68A5C3-32F0-4B68-95D6-7FB4A06318B3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254184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60DF897-0B71-4CB5-BBEE-19D555FCBA9E}"/>
              </a:ext>
            </a:extLst>
          </p:cNvPr>
          <p:cNvSpPr txBox="1">
            <a:spLocks/>
          </p:cNvSpPr>
          <p:nvPr/>
        </p:nvSpPr>
        <p:spPr>
          <a:xfrm rot="5400000">
            <a:off x="4125731" y="3401053"/>
            <a:ext cx="3045730" cy="609414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100" b="1" dirty="0">
              <a:solidFill>
                <a:schemeClr val="tx2"/>
              </a:solidFill>
            </a:endParaRPr>
          </a:p>
        </p:txBody>
      </p:sp>
      <p:sp>
        <p:nvSpPr>
          <p:cNvPr id="85" name="Freeform 5">
            <a:extLst>
              <a:ext uri="{FF2B5EF4-FFF2-40B4-BE49-F238E27FC236}">
                <a16:creationId xmlns:a16="http://schemas.microsoft.com/office/drawing/2014/main" id="{5DFEA62F-1E0E-4EAE-A940-EBB4797835CB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3562239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6" name="Freeform 6">
            <a:extLst>
              <a:ext uri="{FF2B5EF4-FFF2-40B4-BE49-F238E27FC236}">
                <a16:creationId xmlns:a16="http://schemas.microsoft.com/office/drawing/2014/main" id="{C93238C8-B419-455D-AB0A-120D56357BA6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3748851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8" name="Freeform 5">
            <a:extLst>
              <a:ext uri="{FF2B5EF4-FFF2-40B4-BE49-F238E27FC236}">
                <a16:creationId xmlns:a16="http://schemas.microsoft.com/office/drawing/2014/main" id="{50980B85-57E6-4211-9D25-D94064C6FD65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3144911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9" name="Freeform 6">
            <a:extLst>
              <a:ext uri="{FF2B5EF4-FFF2-40B4-BE49-F238E27FC236}">
                <a16:creationId xmlns:a16="http://schemas.microsoft.com/office/drawing/2014/main" id="{6BE80CCC-D4D2-48B7-A88E-00B8E82BB8FA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3331523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1" name="Freeform 5">
            <a:extLst>
              <a:ext uri="{FF2B5EF4-FFF2-40B4-BE49-F238E27FC236}">
                <a16:creationId xmlns:a16="http://schemas.microsoft.com/office/drawing/2014/main" id="{C70AD9EF-9928-4AEC-AD9E-17DE402F93B3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275696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2" name="Freeform 6">
            <a:extLst>
              <a:ext uri="{FF2B5EF4-FFF2-40B4-BE49-F238E27FC236}">
                <a16:creationId xmlns:a16="http://schemas.microsoft.com/office/drawing/2014/main" id="{36EF471D-1CFD-4821-9AF8-01B6A36F6034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294357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4" name="Freeform 5">
            <a:extLst>
              <a:ext uri="{FF2B5EF4-FFF2-40B4-BE49-F238E27FC236}">
                <a16:creationId xmlns:a16="http://schemas.microsoft.com/office/drawing/2014/main" id="{E9431D98-81FF-472A-9E6E-19CF7345FFFF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235523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5" name="Freeform 6">
            <a:extLst>
              <a:ext uri="{FF2B5EF4-FFF2-40B4-BE49-F238E27FC236}">
                <a16:creationId xmlns:a16="http://schemas.microsoft.com/office/drawing/2014/main" id="{383EB0E3-A295-4A09-870B-7666156B3EA3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254184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3176643-0653-44A2-83FF-8392371F417C}"/>
              </a:ext>
            </a:extLst>
          </p:cNvPr>
          <p:cNvSpPr txBox="1">
            <a:spLocks/>
          </p:cNvSpPr>
          <p:nvPr/>
        </p:nvSpPr>
        <p:spPr>
          <a:xfrm rot="5400000">
            <a:off x="4947066" y="3401053"/>
            <a:ext cx="3045730" cy="609414"/>
          </a:xfrm>
          <a:prstGeom prst="rect">
            <a:avLst/>
          </a:prstGeom>
          <a:solidFill>
            <a:schemeClr val="accent5">
              <a:alpha val="80000"/>
            </a:schemeClr>
          </a:solidFill>
          <a:ln w="19050"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en-GB" sz="1100" b="1" dirty="0">
              <a:solidFill>
                <a:schemeClr val="tx2"/>
              </a:solidFill>
            </a:endParaRPr>
          </a:p>
        </p:txBody>
      </p:sp>
      <p:sp>
        <p:nvSpPr>
          <p:cNvPr id="101" name="Freeform 5">
            <a:extLst>
              <a:ext uri="{FF2B5EF4-FFF2-40B4-BE49-F238E27FC236}">
                <a16:creationId xmlns:a16="http://schemas.microsoft.com/office/drawing/2014/main" id="{BD5E777C-A7AF-4DDD-81F4-C3C2680BADD1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3562239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2" name="Freeform 6">
            <a:extLst>
              <a:ext uri="{FF2B5EF4-FFF2-40B4-BE49-F238E27FC236}">
                <a16:creationId xmlns:a16="http://schemas.microsoft.com/office/drawing/2014/main" id="{D54DDCE3-0AE5-4A5E-BDB2-3A8AB236F0DB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3748851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4" name="Freeform 5">
            <a:extLst>
              <a:ext uri="{FF2B5EF4-FFF2-40B4-BE49-F238E27FC236}">
                <a16:creationId xmlns:a16="http://schemas.microsoft.com/office/drawing/2014/main" id="{F8F863EB-2094-47AA-8957-49CABEDB504D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3144911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5" name="Freeform 6">
            <a:extLst>
              <a:ext uri="{FF2B5EF4-FFF2-40B4-BE49-F238E27FC236}">
                <a16:creationId xmlns:a16="http://schemas.microsoft.com/office/drawing/2014/main" id="{33273CDD-0634-4F2B-B3B1-2E7FB54C3925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3331523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7" name="Freeform 5">
            <a:extLst>
              <a:ext uri="{FF2B5EF4-FFF2-40B4-BE49-F238E27FC236}">
                <a16:creationId xmlns:a16="http://schemas.microsoft.com/office/drawing/2014/main" id="{1D827E72-58F3-4037-8A38-9FA82337A459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275696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8" name="Freeform 6">
            <a:extLst>
              <a:ext uri="{FF2B5EF4-FFF2-40B4-BE49-F238E27FC236}">
                <a16:creationId xmlns:a16="http://schemas.microsoft.com/office/drawing/2014/main" id="{45E4CAB3-EFA2-43AD-BDB7-0207F58C8399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294357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bg1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0" name="Freeform 5">
            <a:extLst>
              <a:ext uri="{FF2B5EF4-FFF2-40B4-BE49-F238E27FC236}">
                <a16:creationId xmlns:a16="http://schemas.microsoft.com/office/drawing/2014/main" id="{6C39E9B7-2BE1-40C2-B173-E88573F71913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235523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1" name="Freeform 6">
            <a:extLst>
              <a:ext uri="{FF2B5EF4-FFF2-40B4-BE49-F238E27FC236}">
                <a16:creationId xmlns:a16="http://schemas.microsoft.com/office/drawing/2014/main" id="{DDC8EF95-FD3F-4736-9638-5B6FCEE94286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254184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8" name="Freeform 5">
            <a:extLst>
              <a:ext uri="{FF2B5EF4-FFF2-40B4-BE49-F238E27FC236}">
                <a16:creationId xmlns:a16="http://schemas.microsoft.com/office/drawing/2014/main" id="{EF449BDC-FEA2-4C8B-8D6C-CED3D2C22647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395834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9" name="Freeform 6">
            <a:extLst>
              <a:ext uri="{FF2B5EF4-FFF2-40B4-BE49-F238E27FC236}">
                <a16:creationId xmlns:a16="http://schemas.microsoft.com/office/drawing/2014/main" id="{DA476447-51D0-4459-9D44-BD1B3A566E38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4144956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1" name="Freeform 5">
            <a:extLst>
              <a:ext uri="{FF2B5EF4-FFF2-40B4-BE49-F238E27FC236}">
                <a16:creationId xmlns:a16="http://schemas.microsoft.com/office/drawing/2014/main" id="{DDB7B631-8DC8-4FC1-93AA-FE11D03DCC93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395834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2" name="Freeform 6">
            <a:extLst>
              <a:ext uri="{FF2B5EF4-FFF2-40B4-BE49-F238E27FC236}">
                <a16:creationId xmlns:a16="http://schemas.microsoft.com/office/drawing/2014/main" id="{B5543AA3-6BDB-4E31-BE39-D511CFC7B6D2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4144956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4" name="Freeform 5">
            <a:extLst>
              <a:ext uri="{FF2B5EF4-FFF2-40B4-BE49-F238E27FC236}">
                <a16:creationId xmlns:a16="http://schemas.microsoft.com/office/drawing/2014/main" id="{0A4FE5E8-FCC3-4CE2-8161-28858E7B7B27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395834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5" name="Freeform 6">
            <a:extLst>
              <a:ext uri="{FF2B5EF4-FFF2-40B4-BE49-F238E27FC236}">
                <a16:creationId xmlns:a16="http://schemas.microsoft.com/office/drawing/2014/main" id="{4789CFA6-00DD-49E4-89C4-4A3CF5BD2B61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4144956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7" name="Freeform 5">
            <a:extLst>
              <a:ext uri="{FF2B5EF4-FFF2-40B4-BE49-F238E27FC236}">
                <a16:creationId xmlns:a16="http://schemas.microsoft.com/office/drawing/2014/main" id="{B6A34A61-BB5E-4480-8B48-5AD085802AA9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395834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8" name="Freeform 6">
            <a:extLst>
              <a:ext uri="{FF2B5EF4-FFF2-40B4-BE49-F238E27FC236}">
                <a16:creationId xmlns:a16="http://schemas.microsoft.com/office/drawing/2014/main" id="{4FE4D7C0-C34F-488B-8B8E-01DD17AE36CC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4144956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0" name="Freeform 5">
            <a:extLst>
              <a:ext uri="{FF2B5EF4-FFF2-40B4-BE49-F238E27FC236}">
                <a16:creationId xmlns:a16="http://schemas.microsoft.com/office/drawing/2014/main" id="{6113EB6C-748A-4D89-A17C-4D3AD60D478E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436029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1" name="Freeform 6">
            <a:extLst>
              <a:ext uri="{FF2B5EF4-FFF2-40B4-BE49-F238E27FC236}">
                <a16:creationId xmlns:a16="http://schemas.microsoft.com/office/drawing/2014/main" id="{D62289AD-FFA0-429B-9A9B-847A1F405014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454690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3" name="Freeform 5">
            <a:extLst>
              <a:ext uri="{FF2B5EF4-FFF2-40B4-BE49-F238E27FC236}">
                <a16:creationId xmlns:a16="http://schemas.microsoft.com/office/drawing/2014/main" id="{3B716839-DDDB-4270-92BB-22DE0051E4F4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436029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4" name="Freeform 6">
            <a:extLst>
              <a:ext uri="{FF2B5EF4-FFF2-40B4-BE49-F238E27FC236}">
                <a16:creationId xmlns:a16="http://schemas.microsoft.com/office/drawing/2014/main" id="{E3928F7E-1D4B-4635-90AA-8CCD34373F4E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454690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6" name="Freeform 5">
            <a:extLst>
              <a:ext uri="{FF2B5EF4-FFF2-40B4-BE49-F238E27FC236}">
                <a16:creationId xmlns:a16="http://schemas.microsoft.com/office/drawing/2014/main" id="{B94A9A70-9A53-468F-BD91-34E8772094D4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436029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7" name="Freeform 6">
            <a:extLst>
              <a:ext uri="{FF2B5EF4-FFF2-40B4-BE49-F238E27FC236}">
                <a16:creationId xmlns:a16="http://schemas.microsoft.com/office/drawing/2014/main" id="{3BE501BD-FE16-4D87-B7A9-6A92B183F834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454690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09" name="Freeform 5">
            <a:extLst>
              <a:ext uri="{FF2B5EF4-FFF2-40B4-BE49-F238E27FC236}">
                <a16:creationId xmlns:a16="http://schemas.microsoft.com/office/drawing/2014/main" id="{C65E998A-B8CA-4BEC-B60E-D37D8185204B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4360297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0" name="Freeform 6">
            <a:extLst>
              <a:ext uri="{FF2B5EF4-FFF2-40B4-BE49-F238E27FC236}">
                <a16:creationId xmlns:a16="http://schemas.microsoft.com/office/drawing/2014/main" id="{16F5A56E-A813-42D9-B18A-E5FC0B0B18F3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4546909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2" name="Freeform 5">
            <a:extLst>
              <a:ext uri="{FF2B5EF4-FFF2-40B4-BE49-F238E27FC236}">
                <a16:creationId xmlns:a16="http://schemas.microsoft.com/office/drawing/2014/main" id="{C049F9D1-CFF9-45DF-B4F9-394F55B73990}"/>
              </a:ext>
            </a:extLst>
          </p:cNvPr>
          <p:cNvSpPr>
            <a:spLocks noEditPoints="1"/>
          </p:cNvSpPr>
          <p:nvPr/>
        </p:nvSpPr>
        <p:spPr bwMode="auto">
          <a:xfrm>
            <a:off x="3834472" y="479066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3" name="Freeform 6">
            <a:extLst>
              <a:ext uri="{FF2B5EF4-FFF2-40B4-BE49-F238E27FC236}">
                <a16:creationId xmlns:a16="http://schemas.microsoft.com/office/drawing/2014/main" id="{85F096D0-6A8A-41E1-A477-2A616489FB0D}"/>
              </a:ext>
            </a:extLst>
          </p:cNvPr>
          <p:cNvSpPr>
            <a:spLocks noEditPoints="1"/>
          </p:cNvSpPr>
          <p:nvPr/>
        </p:nvSpPr>
        <p:spPr bwMode="auto">
          <a:xfrm>
            <a:off x="3760981" y="4977277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5" name="Freeform 5">
            <a:extLst>
              <a:ext uri="{FF2B5EF4-FFF2-40B4-BE49-F238E27FC236}">
                <a16:creationId xmlns:a16="http://schemas.microsoft.com/office/drawing/2014/main" id="{45BB0A1C-29F9-4A82-B3F9-977EF2BECFC4}"/>
              </a:ext>
            </a:extLst>
          </p:cNvPr>
          <p:cNvSpPr>
            <a:spLocks noEditPoints="1"/>
          </p:cNvSpPr>
          <p:nvPr/>
        </p:nvSpPr>
        <p:spPr bwMode="auto">
          <a:xfrm>
            <a:off x="4706512" y="479066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6" name="Freeform 6">
            <a:extLst>
              <a:ext uri="{FF2B5EF4-FFF2-40B4-BE49-F238E27FC236}">
                <a16:creationId xmlns:a16="http://schemas.microsoft.com/office/drawing/2014/main" id="{F348FBBE-CF2D-4079-882D-472C27171547}"/>
              </a:ext>
            </a:extLst>
          </p:cNvPr>
          <p:cNvSpPr>
            <a:spLocks noEditPoints="1"/>
          </p:cNvSpPr>
          <p:nvPr/>
        </p:nvSpPr>
        <p:spPr bwMode="auto">
          <a:xfrm>
            <a:off x="4633022" y="4977277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8" name="Freeform 5">
            <a:extLst>
              <a:ext uri="{FF2B5EF4-FFF2-40B4-BE49-F238E27FC236}">
                <a16:creationId xmlns:a16="http://schemas.microsoft.com/office/drawing/2014/main" id="{CD990D3C-C208-4DE4-A456-501124783ABD}"/>
              </a:ext>
            </a:extLst>
          </p:cNvPr>
          <p:cNvSpPr>
            <a:spLocks noEditPoints="1"/>
          </p:cNvSpPr>
          <p:nvPr/>
        </p:nvSpPr>
        <p:spPr bwMode="auto">
          <a:xfrm>
            <a:off x="5553712" y="479066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9" name="Freeform 6">
            <a:extLst>
              <a:ext uri="{FF2B5EF4-FFF2-40B4-BE49-F238E27FC236}">
                <a16:creationId xmlns:a16="http://schemas.microsoft.com/office/drawing/2014/main" id="{371FDB07-AE6D-4FF5-AB9C-C94A418C024C}"/>
              </a:ext>
            </a:extLst>
          </p:cNvPr>
          <p:cNvSpPr>
            <a:spLocks noEditPoints="1"/>
          </p:cNvSpPr>
          <p:nvPr/>
        </p:nvSpPr>
        <p:spPr bwMode="auto">
          <a:xfrm>
            <a:off x="5480221" y="4977277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1" name="Freeform 5">
            <a:extLst>
              <a:ext uri="{FF2B5EF4-FFF2-40B4-BE49-F238E27FC236}">
                <a16:creationId xmlns:a16="http://schemas.microsoft.com/office/drawing/2014/main" id="{2F5F3E23-64B7-4CF1-94D2-8AC011AB911B}"/>
              </a:ext>
            </a:extLst>
          </p:cNvPr>
          <p:cNvSpPr>
            <a:spLocks noEditPoints="1"/>
          </p:cNvSpPr>
          <p:nvPr/>
        </p:nvSpPr>
        <p:spPr bwMode="auto">
          <a:xfrm>
            <a:off x="6375042" y="4790665"/>
            <a:ext cx="196659" cy="190534"/>
          </a:xfrm>
          <a:custGeom>
            <a:avLst/>
            <a:gdLst>
              <a:gd name="T0" fmla="*/ 123 w 245"/>
              <a:gd name="T1" fmla="*/ 245 h 245"/>
              <a:gd name="T2" fmla="*/ 0 w 245"/>
              <a:gd name="T3" fmla="*/ 122 h 245"/>
              <a:gd name="T4" fmla="*/ 123 w 245"/>
              <a:gd name="T5" fmla="*/ 0 h 245"/>
              <a:gd name="T6" fmla="*/ 245 w 245"/>
              <a:gd name="T7" fmla="*/ 122 h 245"/>
              <a:gd name="T8" fmla="*/ 123 w 245"/>
              <a:gd name="T9" fmla="*/ 245 h 245"/>
              <a:gd name="T10" fmla="*/ 123 w 245"/>
              <a:gd name="T11" fmla="*/ 18 h 245"/>
              <a:gd name="T12" fmla="*/ 18 w 245"/>
              <a:gd name="T13" fmla="*/ 122 h 245"/>
              <a:gd name="T14" fmla="*/ 123 w 245"/>
              <a:gd name="T15" fmla="*/ 227 h 245"/>
              <a:gd name="T16" fmla="*/ 227 w 245"/>
              <a:gd name="T17" fmla="*/ 122 h 245"/>
              <a:gd name="T18" fmla="*/ 123 w 245"/>
              <a:gd name="T19" fmla="*/ 1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5" h="245">
                <a:moveTo>
                  <a:pt x="123" y="245"/>
                </a:moveTo>
                <a:cubicBezTo>
                  <a:pt x="55" y="245"/>
                  <a:pt x="0" y="190"/>
                  <a:pt x="0" y="122"/>
                </a:cubicBezTo>
                <a:cubicBezTo>
                  <a:pt x="0" y="55"/>
                  <a:pt x="55" y="0"/>
                  <a:pt x="123" y="0"/>
                </a:cubicBezTo>
                <a:cubicBezTo>
                  <a:pt x="190" y="0"/>
                  <a:pt x="245" y="55"/>
                  <a:pt x="245" y="122"/>
                </a:cubicBezTo>
                <a:cubicBezTo>
                  <a:pt x="245" y="190"/>
                  <a:pt x="190" y="245"/>
                  <a:pt x="123" y="245"/>
                </a:cubicBezTo>
                <a:close/>
                <a:moveTo>
                  <a:pt x="123" y="18"/>
                </a:moveTo>
                <a:cubicBezTo>
                  <a:pt x="65" y="18"/>
                  <a:pt x="18" y="65"/>
                  <a:pt x="18" y="122"/>
                </a:cubicBezTo>
                <a:cubicBezTo>
                  <a:pt x="18" y="180"/>
                  <a:pt x="65" y="227"/>
                  <a:pt x="123" y="227"/>
                </a:cubicBezTo>
                <a:cubicBezTo>
                  <a:pt x="180" y="227"/>
                  <a:pt x="227" y="180"/>
                  <a:pt x="227" y="122"/>
                </a:cubicBezTo>
                <a:cubicBezTo>
                  <a:pt x="227" y="65"/>
                  <a:pt x="180" y="18"/>
                  <a:pt x="123" y="18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2" name="Freeform 6">
            <a:extLst>
              <a:ext uri="{FF2B5EF4-FFF2-40B4-BE49-F238E27FC236}">
                <a16:creationId xmlns:a16="http://schemas.microsoft.com/office/drawing/2014/main" id="{FA2A12A3-4EB2-462B-AB7B-B016DCEF0BED}"/>
              </a:ext>
            </a:extLst>
          </p:cNvPr>
          <p:cNvSpPr>
            <a:spLocks noEditPoints="1"/>
          </p:cNvSpPr>
          <p:nvPr/>
        </p:nvSpPr>
        <p:spPr bwMode="auto">
          <a:xfrm>
            <a:off x="6301551" y="4977277"/>
            <a:ext cx="343645" cy="101311"/>
          </a:xfrm>
          <a:custGeom>
            <a:avLst/>
            <a:gdLst>
              <a:gd name="T0" fmla="*/ 418 w 428"/>
              <a:gd name="T1" fmla="*/ 130 h 130"/>
              <a:gd name="T2" fmla="*/ 9 w 428"/>
              <a:gd name="T3" fmla="*/ 130 h 130"/>
              <a:gd name="T4" fmla="*/ 2 w 428"/>
              <a:gd name="T5" fmla="*/ 128 h 130"/>
              <a:gd name="T6" fmla="*/ 0 w 428"/>
              <a:gd name="T7" fmla="*/ 120 h 130"/>
              <a:gd name="T8" fmla="*/ 24 w 428"/>
              <a:gd name="T9" fmla="*/ 60 h 130"/>
              <a:gd name="T10" fmla="*/ 148 w 428"/>
              <a:gd name="T11" fmla="*/ 0 h 130"/>
              <a:gd name="T12" fmla="*/ 155 w 428"/>
              <a:gd name="T13" fmla="*/ 2 h 130"/>
              <a:gd name="T14" fmla="*/ 214 w 428"/>
              <a:gd name="T15" fmla="*/ 61 h 130"/>
              <a:gd name="T16" fmla="*/ 273 w 428"/>
              <a:gd name="T17" fmla="*/ 2 h 130"/>
              <a:gd name="T18" fmla="*/ 279 w 428"/>
              <a:gd name="T19" fmla="*/ 0 h 130"/>
              <a:gd name="T20" fmla="*/ 404 w 428"/>
              <a:gd name="T21" fmla="*/ 60 h 130"/>
              <a:gd name="T22" fmla="*/ 427 w 428"/>
              <a:gd name="T23" fmla="*/ 121 h 130"/>
              <a:gd name="T24" fmla="*/ 425 w 428"/>
              <a:gd name="T25" fmla="*/ 128 h 130"/>
              <a:gd name="T26" fmla="*/ 418 w 428"/>
              <a:gd name="T27" fmla="*/ 130 h 130"/>
              <a:gd name="T28" fmla="*/ 20 w 428"/>
              <a:gd name="T29" fmla="*/ 112 h 130"/>
              <a:gd name="T30" fmla="*/ 407 w 428"/>
              <a:gd name="T31" fmla="*/ 112 h 130"/>
              <a:gd name="T32" fmla="*/ 283 w 428"/>
              <a:gd name="T33" fmla="*/ 18 h 130"/>
              <a:gd name="T34" fmla="*/ 221 w 428"/>
              <a:gd name="T35" fmla="*/ 81 h 130"/>
              <a:gd name="T36" fmla="*/ 207 w 428"/>
              <a:gd name="T37" fmla="*/ 81 h 130"/>
              <a:gd name="T38" fmla="*/ 145 w 428"/>
              <a:gd name="T39" fmla="*/ 18 h 130"/>
              <a:gd name="T40" fmla="*/ 20 w 428"/>
              <a:gd name="T41" fmla="*/ 112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28" h="130">
                <a:moveTo>
                  <a:pt x="418" y="130"/>
                </a:moveTo>
                <a:cubicBezTo>
                  <a:pt x="9" y="130"/>
                  <a:pt x="9" y="130"/>
                  <a:pt x="9" y="130"/>
                </a:cubicBezTo>
                <a:cubicBezTo>
                  <a:pt x="6" y="130"/>
                  <a:pt x="4" y="129"/>
                  <a:pt x="2" y="128"/>
                </a:cubicBezTo>
                <a:cubicBezTo>
                  <a:pt x="1" y="125"/>
                  <a:pt x="0" y="123"/>
                  <a:pt x="0" y="120"/>
                </a:cubicBezTo>
                <a:cubicBezTo>
                  <a:pt x="0" y="119"/>
                  <a:pt x="4" y="90"/>
                  <a:pt x="24" y="60"/>
                </a:cubicBezTo>
                <a:cubicBezTo>
                  <a:pt x="43" y="33"/>
                  <a:pt x="79" y="0"/>
                  <a:pt x="148" y="0"/>
                </a:cubicBezTo>
                <a:cubicBezTo>
                  <a:pt x="151" y="0"/>
                  <a:pt x="153" y="1"/>
                  <a:pt x="155" y="2"/>
                </a:cubicBezTo>
                <a:cubicBezTo>
                  <a:pt x="214" y="61"/>
                  <a:pt x="214" y="61"/>
                  <a:pt x="214" y="61"/>
                </a:cubicBezTo>
                <a:cubicBezTo>
                  <a:pt x="273" y="2"/>
                  <a:pt x="273" y="2"/>
                  <a:pt x="273" y="2"/>
                </a:cubicBezTo>
                <a:cubicBezTo>
                  <a:pt x="275" y="1"/>
                  <a:pt x="277" y="0"/>
                  <a:pt x="279" y="0"/>
                </a:cubicBezTo>
                <a:cubicBezTo>
                  <a:pt x="348" y="0"/>
                  <a:pt x="385" y="33"/>
                  <a:pt x="404" y="60"/>
                </a:cubicBezTo>
                <a:cubicBezTo>
                  <a:pt x="423" y="90"/>
                  <a:pt x="427" y="119"/>
                  <a:pt x="427" y="121"/>
                </a:cubicBezTo>
                <a:cubicBezTo>
                  <a:pt x="428" y="123"/>
                  <a:pt x="427" y="125"/>
                  <a:pt x="425" y="128"/>
                </a:cubicBezTo>
                <a:cubicBezTo>
                  <a:pt x="423" y="129"/>
                  <a:pt x="421" y="130"/>
                  <a:pt x="418" y="130"/>
                </a:cubicBezTo>
                <a:close/>
                <a:moveTo>
                  <a:pt x="20" y="112"/>
                </a:moveTo>
                <a:cubicBezTo>
                  <a:pt x="407" y="112"/>
                  <a:pt x="407" y="112"/>
                  <a:pt x="407" y="112"/>
                </a:cubicBezTo>
                <a:cubicBezTo>
                  <a:pt x="401" y="87"/>
                  <a:pt x="376" y="19"/>
                  <a:pt x="283" y="18"/>
                </a:cubicBezTo>
                <a:cubicBezTo>
                  <a:pt x="221" y="81"/>
                  <a:pt x="221" y="81"/>
                  <a:pt x="221" y="81"/>
                </a:cubicBezTo>
                <a:cubicBezTo>
                  <a:pt x="217" y="84"/>
                  <a:pt x="211" y="84"/>
                  <a:pt x="207" y="81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52" y="19"/>
                  <a:pt x="27" y="87"/>
                  <a:pt x="20" y="112"/>
                </a:cubicBezTo>
                <a:close/>
              </a:path>
            </a:pathLst>
          </a:custGeom>
          <a:solidFill>
            <a:schemeClr val="accent3"/>
          </a:solidFill>
          <a:ln w="0" cap="flat" cmpd="sng" algn="ctr">
            <a:solidFill>
              <a:srgbClr val="FFFFFF">
                <a:alpha val="0"/>
              </a:srgb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B884C8B3-BDBB-4978-BC5B-E02B8A923BB1}"/>
              </a:ext>
            </a:extLst>
          </p:cNvPr>
          <p:cNvSpPr txBox="1">
            <a:spLocks/>
          </p:cNvSpPr>
          <p:nvPr/>
        </p:nvSpPr>
        <p:spPr>
          <a:xfrm>
            <a:off x="2615372" y="5946824"/>
            <a:ext cx="4156203" cy="414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de-DE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de-DE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de-DE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de-DE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Region and Country Marketing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DB8503EB-8774-4668-805B-6C687DEE0EB8}"/>
              </a:ext>
            </a:extLst>
          </p:cNvPr>
          <p:cNvSpPr/>
          <p:nvPr/>
        </p:nvSpPr>
        <p:spPr>
          <a:xfrm>
            <a:off x="2615368" y="6307710"/>
            <a:ext cx="545924" cy="540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4B4655DC-2058-4170-A58B-E18802EE5118}"/>
              </a:ext>
            </a:extLst>
          </p:cNvPr>
          <p:cNvSpPr/>
          <p:nvPr/>
        </p:nvSpPr>
        <p:spPr>
          <a:xfrm>
            <a:off x="2615368" y="5946824"/>
            <a:ext cx="545924" cy="540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0228C9D5-A02A-48EE-8312-A48B7DB8E985}"/>
              </a:ext>
            </a:extLst>
          </p:cNvPr>
          <p:cNvSpPr txBox="1">
            <a:spLocks/>
          </p:cNvSpPr>
          <p:nvPr/>
        </p:nvSpPr>
        <p:spPr>
          <a:xfrm>
            <a:off x="6871243" y="5946824"/>
            <a:ext cx="2128651" cy="4149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8" tIns="72008" rIns="72008" bIns="7200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de-DE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de-DE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de-DE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de-DE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Other functions</a:t>
            </a:r>
          </a:p>
        </p:txBody>
      </p:sp>
      <p:cxnSp>
        <p:nvCxnSpPr>
          <p:cNvPr id="236" name="Straight Arrow Connector 235">
            <a:extLst>
              <a:ext uri="{FF2B5EF4-FFF2-40B4-BE49-F238E27FC236}">
                <a16:creationId xmlns:a16="http://schemas.microsoft.com/office/drawing/2014/main" id="{6BD82C38-502F-487A-A173-19F3334E718E}"/>
              </a:ext>
            </a:extLst>
          </p:cNvPr>
          <p:cNvCxnSpPr>
            <a:cxnSpLocks/>
          </p:cNvCxnSpPr>
          <p:nvPr/>
        </p:nvCxnSpPr>
        <p:spPr>
          <a:xfrm>
            <a:off x="3605047" y="5282779"/>
            <a:ext cx="1" cy="616422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Arrow Connector 238">
            <a:extLst>
              <a:ext uri="{FF2B5EF4-FFF2-40B4-BE49-F238E27FC236}">
                <a16:creationId xmlns:a16="http://schemas.microsoft.com/office/drawing/2014/main" id="{AE661734-1983-466E-9C94-16091DAA6B98}"/>
              </a:ext>
            </a:extLst>
          </p:cNvPr>
          <p:cNvCxnSpPr>
            <a:cxnSpLocks/>
          </p:cNvCxnSpPr>
          <p:nvPr/>
        </p:nvCxnSpPr>
        <p:spPr>
          <a:xfrm>
            <a:off x="7647295" y="5282779"/>
            <a:ext cx="1" cy="616422"/>
          </a:xfrm>
          <a:prstGeom prst="straightConnector1">
            <a:avLst/>
          </a:prstGeom>
          <a:ln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TextBox 239">
            <a:extLst>
              <a:ext uri="{FF2B5EF4-FFF2-40B4-BE49-F238E27FC236}">
                <a16:creationId xmlns:a16="http://schemas.microsoft.com/office/drawing/2014/main" id="{5B1583A2-15C4-4538-BF6E-6494D90B7B35}"/>
              </a:ext>
            </a:extLst>
          </p:cNvPr>
          <p:cNvSpPr txBox="1"/>
          <p:nvPr/>
        </p:nvSpPr>
        <p:spPr>
          <a:xfrm>
            <a:off x="4222948" y="5575073"/>
            <a:ext cx="373609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100" dirty="0"/>
              <a:t>Test and deploy to customers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735E829C-66BF-4844-96EA-7F26F8365A01}"/>
              </a:ext>
            </a:extLst>
          </p:cNvPr>
          <p:cNvGrpSpPr/>
          <p:nvPr/>
        </p:nvGrpSpPr>
        <p:grpSpPr>
          <a:xfrm>
            <a:off x="7365284" y="48418"/>
            <a:ext cx="4416804" cy="163613"/>
            <a:chOff x="7365304" y="83710"/>
            <a:chExt cx="4416869" cy="163616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0633EA48-B11E-4C92-9593-88AAA05BCFC1}"/>
                </a:ext>
              </a:extLst>
            </p:cNvPr>
            <p:cNvSpPr>
              <a:spLocks/>
            </p:cNvSpPr>
            <p:nvPr/>
          </p:nvSpPr>
          <p:spPr>
            <a:xfrm>
              <a:off x="7365304" y="83710"/>
              <a:ext cx="4416869" cy="16361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04826795-B719-4BAB-9FAD-0827C1CA79AB}"/>
                </a:ext>
              </a:extLst>
            </p:cNvPr>
            <p:cNvSpPr/>
            <p:nvPr/>
          </p:nvSpPr>
          <p:spPr>
            <a:xfrm>
              <a:off x="9248855" y="83710"/>
              <a:ext cx="1069895" cy="163616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990E605E-DA09-4484-AC12-2B44C5B51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823" y="92880"/>
              <a:ext cx="152183" cy="152183"/>
            </a:xfrm>
            <a:prstGeom prst="rect">
              <a:avLst/>
            </a:prstGeom>
          </p:spPr>
        </p:pic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2D5545CC-B112-4B58-9E55-912524B05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7623" y="86558"/>
              <a:ext cx="152183" cy="152183"/>
            </a:xfrm>
            <a:prstGeom prst="rect">
              <a:avLst/>
            </a:prstGeom>
          </p:spPr>
        </p:pic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E3C28AF0-E23B-4AC4-A2A8-A0DF0BD1D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36603" y="93711"/>
              <a:ext cx="152183" cy="152183"/>
            </a:xfrm>
            <a:prstGeom prst="rect">
              <a:avLst/>
            </a:prstGeom>
          </p:spPr>
        </p:pic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F711566F-9179-4828-8400-68E526C54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11867" y="99235"/>
              <a:ext cx="152183" cy="141136"/>
            </a:xfrm>
            <a:prstGeom prst="rect">
              <a:avLst/>
            </a:prstGeom>
          </p:spPr>
        </p:pic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6C8185DA-D8B3-4083-BBE2-D052565D2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38724" y="93711"/>
              <a:ext cx="152183" cy="152183"/>
            </a:xfrm>
            <a:prstGeom prst="rect">
              <a:avLst/>
            </a:prstGeom>
          </p:spPr>
        </p:pic>
        <p:sp>
          <p:nvSpPr>
            <p:cNvPr id="141" name="Chevron 58">
              <a:extLst>
                <a:ext uri="{FF2B5EF4-FFF2-40B4-BE49-F238E27FC236}">
                  <a16:creationId xmlns:a16="http://schemas.microsoft.com/office/drawing/2014/main" id="{5CBB9F26-B5CA-4E43-916C-6D78E7B212F5}"/>
                </a:ext>
              </a:extLst>
            </p:cNvPr>
            <p:cNvSpPr/>
            <p:nvPr/>
          </p:nvSpPr>
          <p:spPr>
            <a:xfrm>
              <a:off x="826269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2" name="Chevron 59">
              <a:extLst>
                <a:ext uri="{FF2B5EF4-FFF2-40B4-BE49-F238E27FC236}">
                  <a16:creationId xmlns:a16="http://schemas.microsoft.com/office/drawing/2014/main" id="{3FBD0006-6A6C-4571-8DA7-99FC8C5A3D6A}"/>
                </a:ext>
              </a:extLst>
            </p:cNvPr>
            <p:cNvSpPr/>
            <p:nvPr/>
          </p:nvSpPr>
          <p:spPr>
            <a:xfrm>
              <a:off x="922306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3" name="Chevron 60">
              <a:extLst>
                <a:ext uri="{FF2B5EF4-FFF2-40B4-BE49-F238E27FC236}">
                  <a16:creationId xmlns:a16="http://schemas.microsoft.com/office/drawing/2014/main" id="{02F1FA54-798C-45E1-B402-35347A5E705E}"/>
                </a:ext>
              </a:extLst>
            </p:cNvPr>
            <p:cNvSpPr/>
            <p:nvPr/>
          </p:nvSpPr>
          <p:spPr>
            <a:xfrm>
              <a:off x="10283900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4" name="Chevron 61">
              <a:extLst>
                <a:ext uri="{FF2B5EF4-FFF2-40B4-BE49-F238E27FC236}">
                  <a16:creationId xmlns:a16="http://schemas.microsoft.com/office/drawing/2014/main" id="{DF6803E1-1BC2-47D8-85CE-A67A52D1B847}"/>
                </a:ext>
              </a:extLst>
            </p:cNvPr>
            <p:cNvSpPr/>
            <p:nvPr/>
          </p:nvSpPr>
          <p:spPr>
            <a:xfrm>
              <a:off x="10996776" y="113471"/>
              <a:ext cx="68657" cy="105375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5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3729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2"/>
  <p:tag name="PREVIOUSNAME" val="C:\Users\Kumar J\Desktop\jjjjjjj - Copy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iuYtAwT1eUvj3Vjlx.C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Cw1wivSei9op2Ebg1mm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v_AAdtS_KEyjbkif8Q5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UYfrBQIGbVpjYQtw6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wUu86tTdui1DOyzr8Yn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uf0ylLQTCmOY3S8IaS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fnoTwxRNezeEgI4Ym1x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fzc3P7TcC_qSeA0WV5g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Ir_JsSQubJRj1O9RMH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9swQmPTAmxNWog795D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8</Words>
  <Application>Microsoft Macintosh PowerPoint</Application>
  <PresentationFormat>Custom</PresentationFormat>
  <Paragraphs>252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3" baseType="lpstr">
      <vt:lpstr>Arial</vt:lpstr>
      <vt:lpstr>Georgia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think-cell Slide</vt:lpstr>
      <vt:lpstr>Emerging themes and first ideas</vt:lpstr>
      <vt:lpstr>Marketing org on a page</vt:lpstr>
      <vt:lpstr>Marketing Organisation – Approach on a page</vt:lpstr>
      <vt:lpstr>To do this, we follow a five-step process</vt:lpstr>
      <vt:lpstr>Agile Commercial Organization – service line overview</vt:lpstr>
      <vt:lpstr>Case study – The client identified world-leading marketing capabilities that were required in all teams</vt:lpstr>
      <vt:lpstr>Case study – We defined the roles and investment in each level of the organization by capability</vt:lpstr>
      <vt:lpstr>Case study – The new operating model built capabilities into agile squads</vt:lpstr>
      <vt:lpstr>Case study – Squads became the building block of marketing, with new  capability sets</vt:lpstr>
      <vt:lpstr>Case study – The regional marketing structure was built around squads and hubs</vt:lpstr>
      <vt:lpstr>The Future Marketing Org cell team can support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3-12T04:56:59Z</dcterms:modified>
  <cp:category/>
  <cp:contentStatus/>
  <dc:language/>
  <cp:version/>
</cp:coreProperties>
</file>